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142533642" r:id="rId5"/>
    <p:sldId id="259" r:id="rId6"/>
    <p:sldId id="2142533644" r:id="rId7"/>
    <p:sldId id="2142533645" r:id="rId8"/>
    <p:sldId id="2142533643" r:id="rId9"/>
    <p:sldId id="2142533647" r:id="rId10"/>
    <p:sldId id="2142533648" r:id="rId11"/>
  </p:sldIdLst>
  <p:sldSz cx="12192000" cy="6858000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Maersk Headline Light" panose="020B0604020202020204" charset="0"/>
      <p:regular r:id="rId18"/>
      <p:italic r:id="rId19"/>
    </p:embeddedFont>
    <p:embeddedFont>
      <p:font typeface="Maersk Headline Office" panose="020B0604020202020204" charset="0"/>
      <p:regular r:id="rId20"/>
      <p:bold r:id="rId21"/>
      <p:italic r:id="rId22"/>
      <p:boldItalic r:id="rId23"/>
    </p:embeddedFont>
    <p:embeddedFont>
      <p:font typeface="Maersk Text" panose="020B0604020202020204" charset="0"/>
      <p:regular r:id="rId24"/>
      <p:bold r:id="rId25"/>
      <p:italic r:id="rId26"/>
      <p:boldItalic r:id="rId2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7C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8A6996-C686-2C4E-8CB7-EA4801A699CB}" v="110" dt="2022-10-12T07:13:28.141"/>
  </p1510:revLst>
</p1510:revInfo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" Type="http://schemas.openxmlformats.org/officeDocument/2006/relationships/customXml" Target="../customXml/item3.xml"/><Relationship Id="rId21" Type="http://schemas.openxmlformats.org/officeDocument/2006/relationships/font" Target="fonts/font8.fntdata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1.fntdata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6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12/10/2022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12/10/2022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29172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5854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29621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144000" tIns="10800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2492375"/>
            <a:ext cx="5595937" cy="181610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053EA21-14DD-464D-95CF-F4D04D57A4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9669" y="6112252"/>
            <a:ext cx="2629369" cy="14050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presenter’s name and sur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922A9B-8A21-4C62-B8E0-4E57BCB7F23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01726" y="6247262"/>
            <a:ext cx="2627312" cy="140910"/>
          </a:xfrm>
        </p:spPr>
        <p:txBody>
          <a:bodyPr wrap="none" lIns="0" tIns="0" rIns="0" bIns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Logo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784233" y="6057019"/>
            <a:ext cx="1905001" cy="42638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9" name="Footer Placeholder 18" hidden="1">
            <a:extLst>
              <a:ext uri="{FF2B5EF4-FFF2-40B4-BE49-F238E27FC236}">
                <a16:creationId xmlns:a16="http://schemas.microsoft.com/office/drawing/2014/main" id="{EF117A4B-54AF-45DE-842B-8168C52721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20" name="Slide Number Placeholder 19" hidden="1">
            <a:extLst>
              <a:ext uri="{FF2B5EF4-FFF2-40B4-BE49-F238E27FC236}">
                <a16:creationId xmlns:a16="http://schemas.microsoft.com/office/drawing/2014/main" id="{6BB5F837-CD41-4FEA-B45A-2B3A60DC7C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85713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43100"/>
            <a:ext cx="3578225" cy="369487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14825" y="1943100"/>
            <a:ext cx="7375525" cy="369487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90547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66754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00063" y="1943101"/>
            <a:ext cx="6675437" cy="1485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29587" y="501650"/>
            <a:ext cx="3560763" cy="5135563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A9E8C0B-1C97-4D16-9DD8-EB4FE101D0F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93714" y="4070350"/>
            <a:ext cx="6675436" cy="15668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07302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2095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50097"/>
            <a:ext cx="3560736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6138" y="1950097"/>
            <a:ext cx="3560736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131175" y="1968500"/>
            <a:ext cx="3559175" cy="366947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685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2095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50097"/>
            <a:ext cx="2620800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738" y="1950097"/>
            <a:ext cx="2619375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19989" y="1950097"/>
            <a:ext cx="2619375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059DA8A-4391-4F2F-8A22-F32154823E8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069388" y="1950097"/>
            <a:ext cx="2619375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03014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ith number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4" y="412442"/>
            <a:ext cx="11188800" cy="7191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027FDC-6FFF-4553-A164-9D1EA73663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0064" y="1943099"/>
            <a:ext cx="715961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01 -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049ABFC-94E9-40A1-97A7-B001CEAD32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54148" y="1943099"/>
            <a:ext cx="9302400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noProof="0"/>
              <a:t>Click to add text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95070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ith number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A5975426-E16F-4D12-98B6-8FE2A0F7895B}"/>
              </a:ext>
            </a:extLst>
          </p:cNvPr>
          <p:cNvSpPr/>
          <p:nvPr userDrawn="1"/>
        </p:nvSpPr>
        <p:spPr>
          <a:xfrm>
            <a:off x="0" y="0"/>
            <a:ext cx="1219047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4" y="412442"/>
            <a:ext cx="11190286" cy="7191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027FDC-6FFF-4553-A164-9D1EA73663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0064" y="1943099"/>
            <a:ext cx="715961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01 -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049ABFC-94E9-40A1-97A7-B001CEAD32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54149" y="1943099"/>
            <a:ext cx="9301164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noProof="0"/>
              <a:t>Click to add text</a:t>
            </a:r>
            <a:endParaRPr lang="en-GB"/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1E4FBBA8-C15E-48AA-A048-FDFD4E9C6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03927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A5975426-E16F-4D12-98B6-8FE2A0F7895B}"/>
              </a:ext>
            </a:extLst>
          </p:cNvPr>
          <p:cNvSpPr/>
          <p:nvPr userDrawn="1"/>
        </p:nvSpPr>
        <p:spPr>
          <a:xfrm>
            <a:off x="0" y="0"/>
            <a:ext cx="1219047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4" y="412442"/>
            <a:ext cx="11190286" cy="7191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027FDC-6FFF-4553-A164-9D1EA73663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386" y="1943100"/>
            <a:ext cx="6615577" cy="2711450"/>
          </a:xfrm>
        </p:spPr>
        <p:txBody>
          <a:bodyPr/>
          <a:lstStyle>
            <a:lvl1pPr marL="0" indent="0">
              <a:buNone/>
              <a:defRPr lang="en-US" sz="23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62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049ABFC-94E9-40A1-97A7-B001CEAD32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14825" y="5084763"/>
            <a:ext cx="7375525" cy="5476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000" i="0" kern="1200" dirty="0" smtClean="0">
                <a:solidFill>
                  <a:schemeClr val="bg1"/>
                </a:solidFill>
                <a:latin typeface="Maersk Text Office Light" panose="00000400000000000000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Click to add </a:t>
            </a:r>
            <a:r>
              <a:rPr lang="en-GB"/>
              <a:t>text</a:t>
            </a: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1E4FBBA8-C15E-48AA-A048-FDFD4E9C6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89072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veral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6536757-24D6-4CE3-BC82-E594F5B33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EEC2DAD-CD0D-4A12-B275-257EC3F16D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1527716"/>
            <a:ext cx="5484812" cy="1753641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180000" indent="-180000">
              <a:spcBef>
                <a:spcPts val="0"/>
              </a:spcBef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2pPr>
            <a:lvl3pPr marL="36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EA61B2-2CC5-4483-A81E-CE7D1E1135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0063" y="4070350"/>
            <a:ext cx="5484812" cy="156685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180000" indent="-180000">
              <a:spcBef>
                <a:spcPts val="0"/>
              </a:spcBef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2pPr>
            <a:lvl3pPr marL="360000"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2</a:t>
            </a:r>
          </a:p>
          <a:p>
            <a:pPr lvl="2"/>
            <a:r>
              <a:rPr lang="en-GB" noProof="0"/>
              <a:t>3</a:t>
            </a:r>
          </a:p>
          <a:p>
            <a:pPr lvl="3"/>
            <a:r>
              <a:rPr lang="en-GB" noProof="0"/>
              <a:t>4</a:t>
            </a:r>
          </a:p>
          <a:p>
            <a:pPr lvl="4"/>
            <a:r>
              <a:rPr lang="en-GB" noProof="0"/>
              <a:t>5</a:t>
            </a:r>
          </a:p>
          <a:p>
            <a:pPr lvl="5"/>
            <a:r>
              <a:rPr lang="en-GB" noProof="0"/>
              <a:t>6</a:t>
            </a:r>
            <a:endParaRPr lang="en-GB"/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25700A65-5A8D-4928-8A10-F9DB7E931F98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225806" y="1527717"/>
            <a:ext cx="5467350" cy="2537993"/>
          </a:xfrm>
        </p:spPr>
        <p:txBody>
          <a:bodyPr tIns="72000"/>
          <a:lstStyle>
            <a:lvl1pPr>
              <a:defRPr sz="11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A2424BA5-C278-45AB-B9F5-B85D4A3A86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999" y="4654550"/>
            <a:ext cx="4532313" cy="982663"/>
          </a:xfrm>
        </p:spPr>
        <p:txBody>
          <a:bodyPr tIns="0" numCol="2" spcCol="180000"/>
          <a:lstStyle>
            <a:lvl1pPr marL="0" indent="0"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100">
                <a:solidFill>
                  <a:srgbClr val="878787"/>
                </a:solidFill>
              </a:defRPr>
            </a:lvl2pPr>
            <a:lvl3pPr marL="180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rgbClr val="878787"/>
                </a:solidFill>
              </a:defRPr>
            </a:lvl3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1</a:t>
            </a:r>
          </a:p>
          <a:p>
            <a:pPr lvl="2"/>
            <a:r>
              <a:rPr lang="en-GB" noProof="0"/>
              <a:t>2</a:t>
            </a:r>
          </a:p>
          <a:p>
            <a:pPr lvl="3"/>
            <a:r>
              <a:rPr lang="en-GB" noProof="0"/>
              <a:t>3</a:t>
            </a:r>
            <a:endParaRPr lang="en-GB"/>
          </a:p>
        </p:txBody>
      </p:sp>
      <p:grpSp>
        <p:nvGrpSpPr>
          <p:cNvPr id="16" name="Group logo">
            <a:extLst>
              <a:ext uri="{FF2B5EF4-FFF2-40B4-BE49-F238E27FC236}">
                <a16:creationId xmlns:a16="http://schemas.microsoft.com/office/drawing/2014/main" id="{F096A198-57B0-402E-B8FD-71C5BF9447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735D8F0-DF96-4E27-BA61-1D988B869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497644D-7612-422C-AF4D-1E0DD3854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6B732CD-52AC-420B-8B09-36FD5C70C8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85937AE-5276-446F-AB67-7B60605D46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142013A-0C22-460F-9469-E0A34D93C5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F3AFC74-3794-4E77-9F20-A4B649553C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D726B94-52B6-40D9-90FC-C0F4F13240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04D1092F-9F78-4F84-96C4-3D628BA8E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7096DEC8-77C9-4DD3-9025-ECDC80F2146B}"/>
              </a:ext>
            </a:extLst>
          </p:cNvPr>
          <p:cNvCxnSpPr/>
          <p:nvPr userDrawn="1"/>
        </p:nvCxnSpPr>
        <p:spPr>
          <a:xfrm>
            <a:off x="500064" y="3521075"/>
            <a:ext cx="5484811" cy="0"/>
          </a:xfrm>
          <a:prstGeom prst="line">
            <a:avLst/>
          </a:prstGeom>
          <a:ln w="12700">
            <a:solidFill>
              <a:srgbClr val="8787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">
            <a:extLst>
              <a:ext uri="{FF2B5EF4-FFF2-40B4-BE49-F238E27FC236}">
                <a16:creationId xmlns:a16="http://schemas.microsoft.com/office/drawing/2014/main" id="{EA90E9CF-510E-4225-A3BB-91F013987BD5}"/>
              </a:ext>
            </a:extLst>
          </p:cNvPr>
          <p:cNvCxnSpPr/>
          <p:nvPr userDrawn="1"/>
        </p:nvCxnSpPr>
        <p:spPr>
          <a:xfrm>
            <a:off x="6225806" y="1527717"/>
            <a:ext cx="54684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">
            <a:extLst>
              <a:ext uri="{FF2B5EF4-FFF2-40B4-BE49-F238E27FC236}">
                <a16:creationId xmlns:a16="http://schemas.microsoft.com/office/drawing/2014/main" id="{CA039D30-14CC-454E-9DA1-C777E3C44776}"/>
              </a:ext>
            </a:extLst>
          </p:cNvPr>
          <p:cNvCxnSpPr/>
          <p:nvPr userDrawn="1"/>
        </p:nvCxnSpPr>
        <p:spPr>
          <a:xfrm>
            <a:off x="6225806" y="4400550"/>
            <a:ext cx="54684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C382236-11EE-4251-B331-C34A1F0BC3C7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62E7F8-5569-4FBF-9D79-FD373EB71C0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D00A7CC-3278-4F1E-AD5C-F27447EEAE9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97902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31175" y="501650"/>
            <a:ext cx="3559176" cy="5135563"/>
          </a:xfrm>
          <a:noFill/>
          <a:ln>
            <a:noFill/>
          </a:ln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grpSp>
        <p:nvGrpSpPr>
          <p:cNvPr id="16" name="Group logo">
            <a:extLst>
              <a:ext uri="{FF2B5EF4-FFF2-40B4-BE49-F238E27FC236}">
                <a16:creationId xmlns:a16="http://schemas.microsoft.com/office/drawing/2014/main" id="{F096A198-57B0-402E-B8FD-71C5BF9447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735D8F0-DF96-4E27-BA61-1D988B869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497644D-7612-422C-AF4D-1E0DD3854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6B732CD-52AC-420B-8B09-36FD5C70C8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85937AE-5276-446F-AB67-7B60605D46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142013A-0C22-460F-9469-E0A34D93C5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F3AFC74-3794-4E77-9F20-A4B649553C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D726B94-52B6-40D9-90FC-C0F4F13240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04D1092F-9F78-4F84-96C4-3D628BA8E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E637B88C-6BF1-4846-8D23-5E4678D61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399" y="501649"/>
            <a:ext cx="6676689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EEC2DAD-CD0D-4A12-B275-257EC3F16D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1943100"/>
            <a:ext cx="4530725" cy="157797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2pPr>
            <a:lvl3pPr marL="360000"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EA61B2-2CC5-4483-A81E-CE7D1E1135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0063" y="4078099"/>
            <a:ext cx="4532400" cy="230376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180000" indent="-180000">
              <a:spcBef>
                <a:spcPts val="0"/>
              </a:spcBef>
              <a:buFont typeface="Arial" panose="020B0604020202020204" pitchFamily="34" charset="0"/>
              <a:buChar char="•"/>
              <a:defRPr sz="1100" b="0">
                <a:solidFill>
                  <a:srgbClr val="687A86"/>
                </a:solidFill>
              </a:defRPr>
            </a:lvl2pPr>
            <a:lvl3pPr marL="360000">
              <a:defRPr>
                <a:solidFill>
                  <a:srgbClr val="687A86"/>
                </a:solidFill>
              </a:defRPr>
            </a:lvl3pPr>
            <a:lvl5pPr>
              <a:defRPr>
                <a:solidFill>
                  <a:srgbClr val="687A86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  <a:endParaRPr lang="en-GB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A2424BA5-C278-45AB-B9F5-B85D4A3A86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0063" y="4440055"/>
            <a:ext cx="3578225" cy="876454"/>
          </a:xfrm>
        </p:spPr>
        <p:txBody>
          <a:bodyPr tIns="90000" numCol="2" spcCol="180000"/>
          <a:lstStyle>
            <a:lvl1pPr marL="198000" indent="-198000">
              <a:spcAft>
                <a:spcPts val="300"/>
              </a:spcAft>
              <a:buClrTx/>
              <a:buFont typeface="+mj-lt"/>
              <a:buAutoNum type="arabicPeriod"/>
              <a:defRPr sz="1100">
                <a:solidFill>
                  <a:srgbClr val="878787"/>
                </a:solidFill>
              </a:defRPr>
            </a:lvl1pPr>
          </a:lstStyle>
          <a:p>
            <a:pPr lvl="0"/>
            <a:r>
              <a:rPr lang="en-GB" noProof="0"/>
              <a:t>Click to add text</a:t>
            </a:r>
            <a:endParaRPr lang="en-GB"/>
          </a:p>
        </p:txBody>
      </p:sp>
      <p:cxnSp>
        <p:nvCxnSpPr>
          <p:cNvPr id="12" name="Straight Connector 1">
            <a:extLst>
              <a:ext uri="{FF2B5EF4-FFF2-40B4-BE49-F238E27FC236}">
                <a16:creationId xmlns:a16="http://schemas.microsoft.com/office/drawing/2014/main" id="{CA039D30-14CC-454E-9DA1-C777E3C44776}"/>
              </a:ext>
            </a:extLst>
          </p:cNvPr>
          <p:cNvCxnSpPr/>
          <p:nvPr userDrawn="1"/>
        </p:nvCxnSpPr>
        <p:spPr>
          <a:xfrm>
            <a:off x="500064" y="4308475"/>
            <a:ext cx="548481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">
            <a:extLst>
              <a:ext uri="{FF2B5EF4-FFF2-40B4-BE49-F238E27FC236}">
                <a16:creationId xmlns:a16="http://schemas.microsoft.com/office/drawing/2014/main" id="{EA3D1E53-A268-4438-A6D9-6DD6795760C6}"/>
              </a:ext>
            </a:extLst>
          </p:cNvPr>
          <p:cNvCxnSpPr/>
          <p:nvPr userDrawn="1"/>
        </p:nvCxnSpPr>
        <p:spPr>
          <a:xfrm>
            <a:off x="500064" y="5637213"/>
            <a:ext cx="5484811" cy="0"/>
          </a:xfrm>
          <a:prstGeom prst="line">
            <a:avLst/>
          </a:prstGeom>
          <a:ln w="12700">
            <a:solidFill>
              <a:srgbClr val="8787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83C375B8-9D52-48FF-B9DE-8BD6EEC3AB3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4DD863-7BBE-4D3F-8B44-500AE483AC8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BACDB-2C17-4569-8330-7E4B0C324AB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72428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2" y="3521074"/>
            <a:ext cx="10491787" cy="2116137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5D39A8-1DFB-490B-B73E-DECDD50DB2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2652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2732088"/>
            <a:ext cx="5473700" cy="1816100"/>
          </a:xfrm>
        </p:spPr>
        <p:txBody>
          <a:bodyPr anchor="t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218238" y="492125"/>
            <a:ext cx="5472112" cy="5145088"/>
          </a:xfrm>
          <a:noFill/>
        </p:spPr>
        <p:txBody>
          <a:bodyPr lIns="144000" tIns="10800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here and insert picture via Templafy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053EA21-14DD-464D-95CF-F4D04D57A4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9669" y="6112252"/>
            <a:ext cx="2629369" cy="140506"/>
          </a:xfrm>
        </p:spPr>
        <p:txBody>
          <a:bodyPr/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Insert presenter’s name and sur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922A9B-8A21-4C62-B8E0-4E57BCB7F23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01726" y="6247262"/>
            <a:ext cx="2627312" cy="140910"/>
          </a:xfr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A7553E4-9495-4C62-83B3-76F11C412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747" y="6057799"/>
            <a:ext cx="1905000" cy="425604"/>
          </a:xfrm>
          <a:prstGeom prst="rect">
            <a:avLst/>
          </a:prstGeom>
        </p:spPr>
      </p:pic>
      <p:sp>
        <p:nvSpPr>
          <p:cNvPr id="19" name="Footer Placeholder 18" hidden="1">
            <a:extLst>
              <a:ext uri="{FF2B5EF4-FFF2-40B4-BE49-F238E27FC236}">
                <a16:creationId xmlns:a16="http://schemas.microsoft.com/office/drawing/2014/main" id="{EF117A4B-54AF-45DE-842B-8168C52721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20" name="Slide Number Placeholder 19" hidden="1">
            <a:extLst>
              <a:ext uri="{FF2B5EF4-FFF2-40B4-BE49-F238E27FC236}">
                <a16:creationId xmlns:a16="http://schemas.microsoft.com/office/drawing/2014/main" id="{6BB5F837-CD41-4FEA-B45A-2B3A60DC7C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176792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w. picture 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3429000"/>
            <a:ext cx="5484812" cy="2208212"/>
          </a:xfr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96DE752-EA38-4814-AFA5-3A736D036B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38480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w. picture B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2" y="3429000"/>
            <a:ext cx="5484813" cy="2208212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BD99E0C0-56FA-4B2A-BB66-76081F6E2F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417583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w. picture 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23000" y="3429000"/>
            <a:ext cx="5467350" cy="2208212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9CFB424-23CA-445E-B56D-C695415294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138594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ory 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2732088"/>
            <a:ext cx="5484812" cy="2125662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48F43D1-063F-48C6-A5D5-90EFC34AB13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00062" y="6278400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/>
              <a:t>Insert case story</a:t>
            </a:r>
          </a:p>
        </p:txBody>
      </p:sp>
      <p:sp>
        <p:nvSpPr>
          <p:cNvPr id="12" name="Text Placeholder logo">
            <a:extLst>
              <a:ext uri="{FF2B5EF4-FFF2-40B4-BE49-F238E27FC236}">
                <a16:creationId xmlns:a16="http://schemas.microsoft.com/office/drawing/2014/main" id="{B9A1D87C-1728-4DC9-BEC9-168709C84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  <a:p>
            <a:r>
              <a:rPr lang="en-GB"/>
              <a:t>.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14941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ory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6223000" y="500063"/>
            <a:ext cx="5467350" cy="5137151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2" y="2735263"/>
            <a:ext cx="5484813" cy="2365375"/>
          </a:xfrm>
        </p:spPr>
        <p:txBody>
          <a:bodyPr/>
          <a:lstStyle>
            <a:lvl1pPr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149FF58-D257-4EC7-B21D-296239E0971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0062" y="6278400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rgbClr val="687A86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/>
              <a:t>Insert case story</a:t>
            </a:r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  <a:p>
            <a:r>
              <a:rPr lang="en-GB"/>
              <a:t>.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63345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ory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AF81BF6F-7D05-4852-828C-3879CADCF160}"/>
              </a:ext>
            </a:extLst>
          </p:cNvPr>
          <p:cNvSpPr/>
          <p:nvPr userDrawn="1"/>
        </p:nvSpPr>
        <p:spPr>
          <a:xfrm>
            <a:off x="0" y="0"/>
            <a:ext cx="12190476" cy="6858000"/>
          </a:xfrm>
          <a:prstGeom prst="rect">
            <a:avLst/>
          </a:prstGeom>
          <a:solidFill>
            <a:srgbClr val="ACAC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1FB8002-AF3C-460C-BA7E-9F5263B687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2" y="2732088"/>
            <a:ext cx="5484813" cy="2120712"/>
          </a:xfrm>
        </p:spPr>
        <p:txBody>
          <a:bodyPr/>
          <a:lstStyle>
            <a:lvl1pPr>
              <a:tabLst>
                <a:tab pos="936000" algn="l"/>
              </a:tabLst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title, tab for first line ind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BC693FA-5D05-4C1F-8558-FBF0F1B4B0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00062" y="6250512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/>
              <a:t>Insert case story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F804FBC7-9C3E-4D1D-B918-9B6E55CB4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0062" y="5084763"/>
            <a:ext cx="5486400" cy="273600"/>
          </a:xfrm>
        </p:spPr>
        <p:txBody>
          <a:bodyPr anchor="b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81AC2EDD-D666-4150-9ABF-DE1FAABE1B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7214" y="6137500"/>
            <a:ext cx="1435438" cy="320697"/>
          </a:xfrm>
          <a:prstGeom prst="rect">
            <a:avLst/>
          </a:prstGeom>
        </p:spPr>
      </p:pic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en-GB"/>
          </a:p>
        </p:txBody>
      </p:sp>
      <p:sp>
        <p:nvSpPr>
          <p:cNvPr id="27" name="Footer Placeholder 18" hidden="1">
            <a:extLst>
              <a:ext uri="{FF2B5EF4-FFF2-40B4-BE49-F238E27FC236}">
                <a16:creationId xmlns:a16="http://schemas.microsoft.com/office/drawing/2014/main" id="{7BC00E8E-7767-4CBC-8922-35975B9380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28" name="Slide Number Placeholder 19" hidden="1">
            <a:extLst>
              <a:ext uri="{FF2B5EF4-FFF2-40B4-BE49-F238E27FC236}">
                <a16:creationId xmlns:a16="http://schemas.microsoft.com/office/drawing/2014/main" id="{768E6C0E-9500-4A30-831D-49B7D31ACD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4719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ory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501650"/>
            <a:ext cx="5467350" cy="5135563"/>
          </a:xfrm>
          <a:noFill/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40DA269-FA7A-44B3-BAB8-307D66285E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2" y="2732088"/>
            <a:ext cx="5484813" cy="2125662"/>
          </a:xfrm>
        </p:spPr>
        <p:txBody>
          <a:bodyPr/>
          <a:lstStyle>
            <a:lvl1pPr>
              <a:tabLst>
                <a:tab pos="936000" algn="l"/>
              </a:tabLst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title, tab for first line inden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60E0E-D53B-47E2-9695-6AA917F7B7A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00062" y="6252276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/>
              <a:t>Insert case story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37DD9DDB-5F46-40A0-A8FA-05AFD85DDCF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0062" y="5084763"/>
            <a:ext cx="5486400" cy="273600"/>
          </a:xfrm>
        </p:spPr>
        <p:txBody>
          <a:bodyPr anchor="b" anchorCtr="0"/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grpSp>
        <p:nvGrpSpPr>
          <p:cNvPr id="16" name="Group logo">
            <a:extLst>
              <a:ext uri="{FF2B5EF4-FFF2-40B4-BE49-F238E27FC236}">
                <a16:creationId xmlns:a16="http://schemas.microsoft.com/office/drawing/2014/main" id="{F096A198-57B0-402E-B8FD-71C5BF9447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735D8F0-DF96-4E27-BA61-1D988B869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497644D-7612-422C-AF4D-1E0DD3854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6B732CD-52AC-420B-8B09-36FD5C70C8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85937AE-5276-446F-AB67-7B60605D46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142013A-0C22-460F-9469-E0A34D93C5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F3AFC74-3794-4E77-9F20-A4B649553C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D726B94-52B6-40D9-90FC-C0F4F13240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04D1092F-9F78-4F84-96C4-3D628BA8E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en-GB"/>
          </a:p>
        </p:txBody>
      </p:sp>
      <p:sp>
        <p:nvSpPr>
          <p:cNvPr id="27" name="Footer Placeholder 18" hidden="1">
            <a:extLst>
              <a:ext uri="{FF2B5EF4-FFF2-40B4-BE49-F238E27FC236}">
                <a16:creationId xmlns:a16="http://schemas.microsoft.com/office/drawing/2014/main" id="{7BC00E8E-7767-4CBC-8922-35975B9380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28" name="Slide Number Placeholder 19" hidden="1">
            <a:extLst>
              <a:ext uri="{FF2B5EF4-FFF2-40B4-BE49-F238E27FC236}">
                <a16:creationId xmlns:a16="http://schemas.microsoft.com/office/drawing/2014/main" id="{768E6C0E-9500-4A30-831D-49B7D31ACD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42231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399" y="1950097"/>
            <a:ext cx="5484475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4788" y="1950097"/>
            <a:ext cx="5465562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51709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400" y="1950098"/>
            <a:ext cx="3560400" cy="3686400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7201" y="1950097"/>
            <a:ext cx="7363150" cy="3686400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C0AB295-B1DB-4A8F-98EB-8D0294F09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855591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50"/>
            <a:ext cx="112095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50097"/>
            <a:ext cx="3560736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6138" y="1950097"/>
            <a:ext cx="3560736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131175" y="1950097"/>
            <a:ext cx="3559175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9537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2732088"/>
            <a:ext cx="5473700" cy="181610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053EA21-14DD-464D-95CF-F4D04D57A4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8940" y="6112252"/>
            <a:ext cx="2629369" cy="14050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presenter’s name and sur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922A9B-8A21-4C62-B8E0-4E57BCB7F23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00997" y="6247262"/>
            <a:ext cx="2627312" cy="140910"/>
          </a:xfrm>
        </p:spPr>
        <p:txBody>
          <a:bodyPr wrap="none" lIns="0" tIns="0" rIns="0" bIns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Footer Placeholder 18" hidden="1">
            <a:extLst>
              <a:ext uri="{FF2B5EF4-FFF2-40B4-BE49-F238E27FC236}">
                <a16:creationId xmlns:a16="http://schemas.microsoft.com/office/drawing/2014/main" id="{EF117A4B-54AF-45DE-842B-8168C52721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20" name="Slide Number Placeholder 19" hidden="1">
            <a:extLst>
              <a:ext uri="{FF2B5EF4-FFF2-40B4-BE49-F238E27FC236}">
                <a16:creationId xmlns:a16="http://schemas.microsoft.com/office/drawing/2014/main" id="{6BB5F837-CD41-4FEA-B45A-2B3A60DC7C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.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048F7A2-A910-4758-AA3D-CD67AF0CDE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747" y="6057799"/>
            <a:ext cx="1904400" cy="42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495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399" y="1501255"/>
            <a:ext cx="5484476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5550" y="1501255"/>
            <a:ext cx="5464800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00399" y="3678175"/>
            <a:ext cx="5484476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F9FA52E-E6B6-497B-8CDF-4291B6C70B9B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25550" y="3678175"/>
            <a:ext cx="5464800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35A655-0007-42B8-9AAE-D572D30C69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74178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399" y="501649"/>
            <a:ext cx="11189951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0399" y="1943100"/>
            <a:ext cx="11189951" cy="36902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436AB1-5F87-45A0-A4D3-ACB62D87C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DEC2C57-2A89-4D06-932E-353E043E7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C0878BA1-CFB4-4349-B120-1867D280A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6D4F2E-FFF6-4D94-A0A4-43A43FCDE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10EAA6D-6226-4D0B-A23A-3D2469B69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C3750702-865E-424E-BDAE-F6B87694C5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017D30-3C3B-4E02-956C-526F80577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2CD91E-E870-45AB-B6B3-21B3C5472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CF0E3E31-9EAD-4ECD-A589-4F158B739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4308475"/>
            <a:ext cx="10491788" cy="1318735"/>
          </a:xfrm>
        </p:spPr>
        <p:txBody>
          <a:bodyPr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0C7CED-62BB-4D41-91E8-AED15ACB42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9643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w.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4308474"/>
            <a:ext cx="10491788" cy="1323975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6CDA879-E7F2-4945-8A09-C6477E28A6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705634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25290" y="1439372"/>
            <a:ext cx="2917403" cy="472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. Insert corporate picture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right Templafy pane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. Browse for other pictur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browse for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 picture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. </a:t>
            </a:r>
            <a:r>
              <a:rPr lang="en-GB" sz="900" b="1" noProof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 copied picture</a:t>
            </a:r>
            <a:endParaRPr lang="en-GB" altLang="da-DK" sz="90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aste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browse for a picture</a:t>
            </a: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ing of guides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their default settings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9" name="Header"/>
          <p:cNvSpPr txBox="1"/>
          <p:nvPr userDrawn="1"/>
        </p:nvSpPr>
        <p:spPr>
          <a:xfrm>
            <a:off x="481014" y="464888"/>
            <a:ext cx="11072810" cy="62914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noProof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07139" y="1439372"/>
            <a:ext cx="2412000" cy="4278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</a:t>
            </a:r>
            <a:r>
              <a:rPr lang="en-GB" sz="900" b="1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 a New Slide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1</a:t>
            </a:r>
            <a:r>
              <a:rPr lang="en-GB" sz="900" b="1" noProof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. </a:t>
            </a:r>
            <a:r>
              <a:rPr lang="en-GB" sz="900" noProof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arrow next to </a:t>
            </a:r>
            <a:r>
              <a:rPr lang="en-GB" sz="900" b="1" noProof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Layout</a:t>
            </a:r>
            <a:br>
              <a:rPr lang="en-GB" sz="900" b="1" noProof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GB" sz="900" noProof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to view a dropdown menu of possible  layouts</a:t>
            </a:r>
            <a:endParaRPr lang="en-GB" sz="900" noProof="0">
              <a:latin typeface="+mn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noProof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. </a:t>
            </a:r>
            <a:r>
              <a:rPr lang="en-GB" sz="900" noProof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layout you prefer and it</a:t>
            </a:r>
            <a:br>
              <a:rPr lang="en-GB" sz="900" noProof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GB" sz="900" noProof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will be applied to the new slide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8849935" y="1439372"/>
            <a:ext cx="2412000" cy="437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 or any other placeholder, click on the placeholder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hold down the Shift button and click on the placeholder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57291" y="2308484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7291" y="4038223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757291" y="4861989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16372" y="5282559"/>
            <a:ext cx="492452" cy="200416"/>
          </a:xfrm>
          <a:prstGeom prst="rect">
            <a:avLst/>
          </a:prstGeom>
        </p:spPr>
      </p:pic>
      <p:grpSp>
        <p:nvGrpSpPr>
          <p:cNvPr id="24" name="Gruppe 23">
            <a:extLst>
              <a:ext uri="{FF2B5EF4-FFF2-40B4-BE49-F238E27FC236}">
                <a16:creationId xmlns:a16="http://schemas.microsoft.com/office/drawing/2014/main" id="{48EAA219-FFE7-4387-A385-4D3D0AF728CE}"/>
              </a:ext>
            </a:extLst>
          </p:cNvPr>
          <p:cNvGrpSpPr/>
          <p:nvPr userDrawn="1"/>
        </p:nvGrpSpPr>
        <p:grpSpPr>
          <a:xfrm>
            <a:off x="7028244" y="2583743"/>
            <a:ext cx="740398" cy="734626"/>
            <a:chOff x="6398620" y="3815586"/>
            <a:chExt cx="740398" cy="734626"/>
          </a:xfrm>
        </p:grpSpPr>
        <p:pic>
          <p:nvPicPr>
            <p:cNvPr id="30" name="6 Crop">
              <a:extLst>
                <a:ext uri="{FF2B5EF4-FFF2-40B4-BE49-F238E27FC236}">
                  <a16:creationId xmlns:a16="http://schemas.microsoft.com/office/drawing/2014/main" id="{EC854AD3-9DFC-4A83-BDF0-A7E2B01F9B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8620" y="3815586"/>
              <a:ext cx="337400" cy="321707"/>
            </a:xfrm>
            <a:prstGeom prst="rect">
              <a:avLst/>
            </a:prstGeom>
          </p:spPr>
        </p:pic>
        <p:pic>
          <p:nvPicPr>
            <p:cNvPr id="31" name="Billede 30">
              <a:extLst>
                <a:ext uri="{FF2B5EF4-FFF2-40B4-BE49-F238E27FC236}">
                  <a16:creationId xmlns:a16="http://schemas.microsoft.com/office/drawing/2014/main" id="{E2414F06-53F0-4323-A4A9-91728B89EE8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304" t="11451" r="30180" b="46035"/>
            <a:stretch/>
          </p:blipFill>
          <p:spPr>
            <a:xfrm>
              <a:off x="6442770" y="4118189"/>
              <a:ext cx="696248" cy="432023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2" name="Gruppe 31">
            <a:extLst>
              <a:ext uri="{FF2B5EF4-FFF2-40B4-BE49-F238E27FC236}">
                <a16:creationId xmlns:a16="http://schemas.microsoft.com/office/drawing/2014/main" id="{78224CA6-7D55-40AF-AF08-7CC6E7C4B3C8}"/>
              </a:ext>
            </a:extLst>
          </p:cNvPr>
          <p:cNvGrpSpPr/>
          <p:nvPr userDrawn="1"/>
        </p:nvGrpSpPr>
        <p:grpSpPr>
          <a:xfrm>
            <a:off x="7072982" y="3558164"/>
            <a:ext cx="740397" cy="929593"/>
            <a:chOff x="6391652" y="4854581"/>
            <a:chExt cx="740397" cy="929593"/>
          </a:xfrm>
        </p:grpSpPr>
        <p:pic>
          <p:nvPicPr>
            <p:cNvPr id="33" name="6 Crop">
              <a:extLst>
                <a:ext uri="{FF2B5EF4-FFF2-40B4-BE49-F238E27FC236}">
                  <a16:creationId xmlns:a16="http://schemas.microsoft.com/office/drawing/2014/main" id="{B89DF8E6-B7F7-4857-A1D8-15B39D7AF8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1652" y="4854581"/>
              <a:ext cx="337400" cy="321707"/>
            </a:xfrm>
            <a:prstGeom prst="rect">
              <a:avLst/>
            </a:prstGeom>
          </p:spPr>
        </p:pic>
        <p:pic>
          <p:nvPicPr>
            <p:cNvPr id="34" name="Billede 33">
              <a:extLst>
                <a:ext uri="{FF2B5EF4-FFF2-40B4-BE49-F238E27FC236}">
                  <a16:creationId xmlns:a16="http://schemas.microsoft.com/office/drawing/2014/main" id="{39AFA131-B5A7-4AB6-889F-69CF39F4C88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1152" t="11676" r="31017" b="26411"/>
            <a:stretch/>
          </p:blipFill>
          <p:spPr>
            <a:xfrm>
              <a:off x="6442770" y="5155024"/>
              <a:ext cx="689279" cy="629150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5" name="Gruppe 34">
            <a:extLst>
              <a:ext uri="{FF2B5EF4-FFF2-40B4-BE49-F238E27FC236}">
                <a16:creationId xmlns:a16="http://schemas.microsoft.com/office/drawing/2014/main" id="{126BB6BB-8852-44D9-A0EB-7B0A29B5CAFC}"/>
              </a:ext>
            </a:extLst>
          </p:cNvPr>
          <p:cNvGrpSpPr/>
          <p:nvPr userDrawn="1"/>
        </p:nvGrpSpPr>
        <p:grpSpPr>
          <a:xfrm>
            <a:off x="7072394" y="1479976"/>
            <a:ext cx="676669" cy="997704"/>
            <a:chOff x="6442771" y="2574072"/>
            <a:chExt cx="676669" cy="997704"/>
          </a:xfrm>
        </p:grpSpPr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2EC1AD58-F087-456F-B1CF-97A8AD608A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7" name="Billede 36">
              <a:extLst>
                <a:ext uri="{FF2B5EF4-FFF2-40B4-BE49-F238E27FC236}">
                  <a16:creationId xmlns:a16="http://schemas.microsoft.com/office/drawing/2014/main" id="{A1105FA6-DF1D-44A9-BD39-B99136D7B2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39" name="6 Beskær">
            <a:extLst>
              <a:ext uri="{FF2B5EF4-FFF2-40B4-BE49-F238E27FC236}">
                <a16:creationId xmlns:a16="http://schemas.microsoft.com/office/drawing/2014/main" id="{F1E5DB47-CE9C-4A68-BA80-97FFD80C5CA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86326" y="2593712"/>
            <a:ext cx="337400" cy="321707"/>
          </a:xfrm>
          <a:prstGeom prst="rect">
            <a:avLst/>
          </a:prstGeom>
        </p:spPr>
      </p:pic>
      <p:pic>
        <p:nvPicPr>
          <p:cNvPr id="40" name="7 Skalér billede">
            <a:extLst>
              <a:ext uri="{FF2B5EF4-FFF2-40B4-BE49-F238E27FC236}">
                <a16:creationId xmlns:a16="http://schemas.microsoft.com/office/drawing/2014/main" id="{472C50C0-81D4-4FF8-9774-95FB88A3DB5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186326" y="3510628"/>
            <a:ext cx="359695" cy="33530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C4EB944-268B-4588-9575-20967FF1FDE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757291" y="3179601"/>
            <a:ext cx="257143" cy="285714"/>
          </a:xfrm>
          <a:prstGeom prst="rect">
            <a:avLst/>
          </a:prstGeom>
        </p:spPr>
      </p:pic>
      <p:sp>
        <p:nvSpPr>
          <p:cNvPr id="23" name="Date Placeholder 2">
            <a:extLst>
              <a:ext uri="{FF2B5EF4-FFF2-40B4-BE49-F238E27FC236}">
                <a16:creationId xmlns:a16="http://schemas.microsoft.com/office/drawing/2014/main" id="{C47240A8-F4C6-438F-B627-9F10AF7702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CE7E8215-C535-47A6-A19E-191CCD6226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B1580671-F9A8-48F5-99CE-4A5C15752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4737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>
                <a:solidFill>
                  <a:schemeClr val="bg1"/>
                </a:solidFill>
              </a:rPr>
              <a:t>If you see any </a:t>
            </a:r>
            <a:r>
              <a:rPr lang="en-GB" sz="4400" b="1" i="1" noProof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>
                <a:solidFill>
                  <a:schemeClr val="bg1"/>
                </a:solidFill>
              </a:rPr>
              <a:t>one</a:t>
            </a:r>
            <a:r>
              <a:rPr lang="en-GB" sz="4400" b="1" i="1" noProof="0">
                <a:solidFill>
                  <a:schemeClr val="bg1"/>
                </a:solidFill>
              </a:rPr>
              <a:t>,</a:t>
            </a:r>
            <a:br>
              <a:rPr lang="en-GB" sz="4400" b="0" i="0" noProof="0">
                <a:solidFill>
                  <a:schemeClr val="bg1"/>
                </a:solidFill>
              </a:rPr>
            </a:br>
            <a:r>
              <a:rPr lang="en-GB" sz="4400" b="0" noProof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>
                <a:solidFill>
                  <a:schemeClr val="bg1"/>
                </a:solidFill>
              </a:rPr>
              <a:t>are not </a:t>
            </a:r>
            <a:r>
              <a:rPr lang="en-GB" sz="4400" b="0" noProof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>
                <a:solidFill>
                  <a:schemeClr val="bg1"/>
                </a:solidFill>
              </a:rPr>
            </a:br>
            <a:br>
              <a:rPr lang="en-GB" sz="2800" b="0" noProof="0">
                <a:solidFill>
                  <a:schemeClr val="bg1"/>
                </a:solidFill>
              </a:rPr>
            </a:br>
            <a:endParaRPr lang="en-GB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>
                <a:solidFill>
                  <a:schemeClr val="bg1"/>
                </a:solidFill>
              </a:rPr>
              <a:t>Do not use </a:t>
            </a:r>
            <a:endParaRPr lang="en-GB" sz="2400" b="1" i="1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>
                <a:solidFill>
                  <a:schemeClr val="bg1"/>
                </a:solidFill>
              </a:rPr>
            </a:br>
            <a:endParaRPr lang="en-GB" sz="1800" b="0" noProof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ersk Cor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endParaRPr lang="en-GB" sz="240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8277B6-D384-47EA-8AAF-F600C5812E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8277B6-D384-47EA-8AAF-F600C5812E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37160"/>
            <a:ext cx="8229600" cy="914400"/>
          </a:xfrm>
          <a:prstGeom prst="rect">
            <a:avLst/>
          </a:prstGeom>
        </p:spPr>
        <p:txBody>
          <a:bodyPr lIns="0" rIns="0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72088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03202" y="358888"/>
            <a:ext cx="11785601" cy="6857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97225" y="1277471"/>
            <a:ext cx="11797551" cy="4894729"/>
          </a:xfrm>
          <a:prstGeom prst="rect">
            <a:avLst/>
          </a:prstGeom>
        </p:spPr>
        <p:txBody>
          <a:bodyPr/>
          <a:lstStyle>
            <a:lvl1pPr marL="91440" indent="0">
              <a:spcBef>
                <a:spcPts val="0"/>
              </a:spcBef>
              <a:spcAft>
                <a:spcPts val="600"/>
              </a:spcAft>
              <a:buNone/>
              <a:defRPr sz="1400" b="1">
                <a:solidFill>
                  <a:schemeClr val="accent1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 sz="1400"/>
            </a:lvl2pPr>
            <a:lvl3pPr>
              <a:spcBef>
                <a:spcPts val="0"/>
              </a:spcBef>
              <a:spcAft>
                <a:spcPts val="600"/>
              </a:spcAft>
              <a:defRPr sz="1200"/>
            </a:lvl3pPr>
            <a:lvl4pPr>
              <a:spcBef>
                <a:spcPts val="0"/>
              </a:spcBef>
              <a:spcAft>
                <a:spcPts val="600"/>
              </a:spcAft>
              <a:defRPr sz="1100"/>
            </a:lvl4pPr>
            <a:lvl5pPr>
              <a:spcBef>
                <a:spcPts val="0"/>
              </a:spcBef>
              <a:spcAft>
                <a:spcPts val="600"/>
              </a:spcAft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3971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agenda/content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00062" y="1943100"/>
            <a:ext cx="954087" cy="3701025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1.00</a:t>
            </a:r>
          </a:p>
          <a:p>
            <a:pPr lvl="1"/>
            <a:r>
              <a:rPr lang="en-GB" noProof="0"/>
              <a:t>2.00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C354DE8-B49E-4B51-91DD-A34B6B5B17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71637" y="1943100"/>
            <a:ext cx="4546601" cy="3701025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622D19-DC71-4F90-AA62-D86E2AFEAD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AFC17B-5A74-4635-AFC9-1AEF46863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1D98D28-9108-4EC2-92D0-619C856BF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10320B85-9075-4BE3-80FE-A4FBA5B8941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43256" y="139701"/>
            <a:ext cx="11905488" cy="62123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"/>
              </a:spcBef>
              <a:spcAft>
                <a:spcPts val="600"/>
              </a:spcAft>
            </a:pPr>
            <a:endParaRPr lang="en-GB"/>
          </a:p>
        </p:txBody>
      </p:sp>
      <p:pic>
        <p:nvPicPr>
          <p:cNvPr id="3" name="Picture 19" descr="C:\Users\vno013\Desktop\Maersk_Line_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286" y="6084642"/>
            <a:ext cx="1639714" cy="769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58" descr="C:\Users\vno013\Desktop\Tagline_black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3200" y="241300"/>
            <a:ext cx="1577975" cy="13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4974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agenda/content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00062" y="1943101"/>
            <a:ext cx="954087" cy="3696826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/>
              <a:t>1.00</a:t>
            </a:r>
          </a:p>
          <a:p>
            <a:pPr lvl="1"/>
            <a:r>
              <a:rPr lang="en-GB" noProof="0"/>
              <a:t>2.00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C354DE8-B49E-4B51-91DD-A34B6B5B17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71637" y="1943101"/>
            <a:ext cx="4546601" cy="3696826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622D19-DC71-4F90-AA62-D86E2AFEAD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AFC17B-5A74-4635-AFC9-1AEF46863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10320B85-9075-4BE3-80FE-A4FBA5B8941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1642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C76334-9261-4B58-9174-1059920D6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400" y="501649"/>
            <a:ext cx="5484476" cy="1990726"/>
          </a:xfrm>
        </p:spPr>
        <p:txBody>
          <a:bodyPr/>
          <a:lstStyle>
            <a:lvl1pPr marL="0" indent="0">
              <a:buFontTx/>
              <a:buNone/>
              <a:tabLst>
                <a:tab pos="936000" algn="l"/>
              </a:tabLst>
              <a:defRPr sz="4000"/>
            </a:lvl1pPr>
          </a:lstStyle>
          <a:p>
            <a:r>
              <a:rPr lang="en-GB" noProof="0"/>
              <a:t>Click to add title, tab for first line indent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97E6BB-0526-4ECF-A7B6-F012FA93D0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E9849-36F9-4EC3-BE81-D2FC41D399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CB67E9-4625-4D5C-A0BB-D895986FA29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CBAD38D-0859-4790-A878-F926B90F35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4825" y="3521075"/>
            <a:ext cx="7375525" cy="211613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solidFill>
                  <a:schemeClr val="accent1"/>
                </a:solidFill>
                <a:latin typeface="+mj-lt"/>
              </a:defRPr>
            </a:lvl2pPr>
            <a:lvl3pPr marL="180000" indent="-1800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1172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66754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00063" y="1943100"/>
            <a:ext cx="6675437" cy="3694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29587" y="501650"/>
            <a:ext cx="3560763" cy="5135563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5998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88700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00063" y="1943100"/>
            <a:ext cx="6675437" cy="3694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29587" y="1943100"/>
            <a:ext cx="3560763" cy="3694113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33295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43099"/>
            <a:ext cx="5464800" cy="3694879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5550" y="1943099"/>
            <a:ext cx="5464800" cy="3694879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82750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399" y="1943739"/>
            <a:ext cx="11189951" cy="36896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, Subhead</a:t>
            </a:r>
          </a:p>
          <a:p>
            <a:pPr lvl="4"/>
            <a:r>
              <a:rPr lang="en-GB" noProof="0"/>
              <a:t>Level 5, headline</a:t>
            </a:r>
          </a:p>
          <a:p>
            <a:pPr lvl="5"/>
            <a:r>
              <a:rPr lang="en-GB" noProof="0"/>
              <a:t>Level 6, headline</a:t>
            </a:r>
          </a:p>
          <a:p>
            <a:pPr lvl="6"/>
            <a:r>
              <a:rPr lang="en-GB" noProof="0"/>
              <a:t>Level 7, note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399" y="501649"/>
            <a:ext cx="11189951" cy="930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88" name="Footer Placeholder 87">
            <a:extLst>
              <a:ext uri="{FF2B5EF4-FFF2-40B4-BE49-F238E27FC236}">
                <a16:creationId xmlns:a16="http://schemas.microsoft.com/office/drawing/2014/main" id="{E21F396F-4C1D-4B71-97C4-1BDE0CB2C01A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219200" y="6278621"/>
            <a:ext cx="3285369" cy="185427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resentation title via Header &amp; Footer</a:t>
            </a:r>
          </a:p>
        </p:txBody>
      </p:sp>
      <p:sp>
        <p:nvSpPr>
          <p:cNvPr id="89" name="Slide Number Placeholder 88">
            <a:extLst>
              <a:ext uri="{FF2B5EF4-FFF2-40B4-BE49-F238E27FC236}">
                <a16:creationId xmlns:a16="http://schemas.microsoft.com/office/drawing/2014/main" id="{A67AAF6D-173F-4FC5-B3DD-15256B6A2F34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502197" y="6278622"/>
            <a:ext cx="412039" cy="185426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5" name="Group 4">
            <a:extLst>
              <a:ext uri="{FF2B5EF4-FFF2-40B4-BE49-F238E27FC236}">
                <a16:creationId xmlns:a16="http://schemas.microsoft.com/office/drawing/2014/main" id="{255E078E-B243-42A1-B589-8CC503A66B4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97" name="Freeform 5">
              <a:extLst>
                <a:ext uri="{FF2B5EF4-FFF2-40B4-BE49-F238E27FC236}">
                  <a16:creationId xmlns:a16="http://schemas.microsoft.com/office/drawing/2014/main" id="{28F624D4-6986-4E93-887C-A0690C5C4A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id="{78D85899-D3DF-418A-8091-4FB0F6F8A2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id="{49738F52-8D2A-4C28-8FB7-92D64EFA84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id="{645BA9F4-DF1F-44D7-A473-6FAC6F2843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id="{EC290DBF-B2E4-4B81-BFB4-65201D8017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id="{8B539F7E-96A0-4BA9-9D11-BACEE5DEB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id="{111170EC-B87D-481F-8FDC-276480533F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06361CD5-F024-4F59-A5DB-73C2182D54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61512BDD-E313-4203-808B-6ECBEE0B5BB4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endParaRPr lang="en-GB"/>
          </a:p>
        </p:txBody>
      </p:sp>
      <p:grpSp>
        <p:nvGrpSpPr>
          <p:cNvPr id="114" name="Group 113" hidden="1">
            <a:extLst>
              <a:ext uri="{FF2B5EF4-FFF2-40B4-BE49-F238E27FC236}">
                <a16:creationId xmlns:a16="http://schemas.microsoft.com/office/drawing/2014/main" id="{A709D695-914B-4705-8AC6-A94C2721C5E6}"/>
              </a:ext>
            </a:extLst>
          </p:cNvPr>
          <p:cNvGrpSpPr/>
          <p:nvPr userDrawn="1"/>
        </p:nvGrpSpPr>
        <p:grpSpPr>
          <a:xfrm>
            <a:off x="500062" y="501647"/>
            <a:ext cx="11194852" cy="5862641"/>
            <a:chOff x="500062" y="501647"/>
            <a:chExt cx="11194852" cy="5862641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94117C3-ACEB-4551-92D6-E8776CE33870}"/>
                </a:ext>
              </a:extLst>
            </p:cNvPr>
            <p:cNvSpPr/>
            <p:nvPr/>
          </p:nvSpPr>
          <p:spPr>
            <a:xfrm>
              <a:off x="504628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DB4EA52B-9F03-4154-94D6-DCF629E0A517}"/>
                </a:ext>
              </a:extLst>
            </p:cNvPr>
            <p:cNvSpPr/>
            <p:nvPr/>
          </p:nvSpPr>
          <p:spPr>
            <a:xfrm>
              <a:off x="1456839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ADABCB14-BA75-4B31-8404-F842D634C5FA}"/>
                </a:ext>
              </a:extLst>
            </p:cNvPr>
            <p:cNvSpPr/>
            <p:nvPr/>
          </p:nvSpPr>
          <p:spPr>
            <a:xfrm>
              <a:off x="8122316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222E1F28-617C-42B1-A6FF-BB511F216035}"/>
                </a:ext>
              </a:extLst>
            </p:cNvPr>
            <p:cNvSpPr/>
            <p:nvPr/>
          </p:nvSpPr>
          <p:spPr>
            <a:xfrm>
              <a:off x="9074527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E69EDA3C-B72E-4595-A9E9-C52463512844}"/>
                </a:ext>
              </a:extLst>
            </p:cNvPr>
            <p:cNvSpPr/>
            <p:nvPr/>
          </p:nvSpPr>
          <p:spPr>
            <a:xfrm>
              <a:off x="10026738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289C1C4C-D89D-4FF0-935C-26D17097F22D}"/>
                </a:ext>
              </a:extLst>
            </p:cNvPr>
            <p:cNvSpPr/>
            <p:nvPr/>
          </p:nvSpPr>
          <p:spPr>
            <a:xfrm>
              <a:off x="10978950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A520FBBD-719C-461F-A18E-15DEEF9344D5}"/>
                </a:ext>
              </a:extLst>
            </p:cNvPr>
            <p:cNvSpPr/>
            <p:nvPr/>
          </p:nvSpPr>
          <p:spPr>
            <a:xfrm>
              <a:off x="7170105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B8152350-997B-4F9F-AF5B-0640D5A22D60}"/>
                </a:ext>
              </a:extLst>
            </p:cNvPr>
            <p:cNvSpPr/>
            <p:nvPr/>
          </p:nvSpPr>
          <p:spPr>
            <a:xfrm>
              <a:off x="6217894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CE7E2C06-3591-4F16-A6C9-26D03AFE7A9F}"/>
                </a:ext>
              </a:extLst>
            </p:cNvPr>
            <p:cNvSpPr/>
            <p:nvPr/>
          </p:nvSpPr>
          <p:spPr>
            <a:xfrm>
              <a:off x="5265683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4D92D19D-15E4-4E02-9555-F731FC602CCC}"/>
                </a:ext>
              </a:extLst>
            </p:cNvPr>
            <p:cNvSpPr/>
            <p:nvPr/>
          </p:nvSpPr>
          <p:spPr>
            <a:xfrm>
              <a:off x="4313472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8A5793D9-80BF-4104-A4AB-DD353A2513BA}"/>
                </a:ext>
              </a:extLst>
            </p:cNvPr>
            <p:cNvSpPr/>
            <p:nvPr/>
          </p:nvSpPr>
          <p:spPr>
            <a:xfrm>
              <a:off x="3361261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9298F0B0-8A2D-4275-9CBC-81577EF8011C}"/>
                </a:ext>
              </a:extLst>
            </p:cNvPr>
            <p:cNvSpPr/>
            <p:nvPr/>
          </p:nvSpPr>
          <p:spPr>
            <a:xfrm>
              <a:off x="2409050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C6FF5141-D9A4-40D9-AE0A-9FAA2ECE1656}"/>
                </a:ext>
              </a:extLst>
            </p:cNvPr>
            <p:cNvSpPr/>
            <p:nvPr/>
          </p:nvSpPr>
          <p:spPr>
            <a:xfrm>
              <a:off x="500062" y="1943739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F254B338-3EBA-4D36-86E8-9C09EF7C02B8}"/>
                </a:ext>
              </a:extLst>
            </p:cNvPr>
            <p:cNvSpPr/>
            <p:nvPr/>
          </p:nvSpPr>
          <p:spPr>
            <a:xfrm>
              <a:off x="500062" y="2733169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FE8AE6C3-0AFF-40F6-88C7-3A7C8A014488}"/>
                </a:ext>
              </a:extLst>
            </p:cNvPr>
            <p:cNvSpPr/>
            <p:nvPr/>
          </p:nvSpPr>
          <p:spPr>
            <a:xfrm>
              <a:off x="500062" y="3522599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53E9EF65-B326-497A-9EE0-EFC57318F203}"/>
                </a:ext>
              </a:extLst>
            </p:cNvPr>
            <p:cNvSpPr/>
            <p:nvPr/>
          </p:nvSpPr>
          <p:spPr>
            <a:xfrm>
              <a:off x="500062" y="4309364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BA518688-2A30-4B00-97FA-A9EA1D196D35}"/>
                </a:ext>
              </a:extLst>
            </p:cNvPr>
            <p:cNvSpPr/>
            <p:nvPr/>
          </p:nvSpPr>
          <p:spPr>
            <a:xfrm>
              <a:off x="500062" y="5084795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1F693842-B64A-4087-9E5F-5199914B2E05}"/>
                </a:ext>
              </a:extLst>
            </p:cNvPr>
            <p:cNvSpPr/>
            <p:nvPr/>
          </p:nvSpPr>
          <p:spPr>
            <a:xfrm>
              <a:off x="500063" y="501647"/>
              <a:ext cx="11190287" cy="930975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err="1"/>
            </a:p>
          </p:txBody>
        </p:sp>
      </p:grpSp>
      <p:sp>
        <p:nvSpPr>
          <p:cNvPr id="4" name="MSIPCMContentMarking" descr="{&quot;HashCode&quot;:-470601971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8D3548D6-DEDB-49F6-B998-8D5E9313F675}"/>
              </a:ext>
            </a:extLst>
          </p:cNvPr>
          <p:cNvSpPr txBox="1"/>
          <p:nvPr userDrawn="1"/>
        </p:nvSpPr>
        <p:spPr>
          <a:xfrm>
            <a:off x="0" y="6595656"/>
            <a:ext cx="143701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cation: Internal</a:t>
            </a:r>
            <a:endParaRPr lang="en-GB" sz="100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54" r:id="rId2"/>
    <p:sldLayoutId id="2147483780" r:id="rId3"/>
    <p:sldLayoutId id="2147483737" r:id="rId4"/>
    <p:sldLayoutId id="2147483757" r:id="rId5"/>
    <p:sldLayoutId id="2147483770" r:id="rId6"/>
    <p:sldLayoutId id="2147483741" r:id="rId7"/>
    <p:sldLayoutId id="2147483778" r:id="rId8"/>
    <p:sldLayoutId id="2147483759" r:id="rId9"/>
    <p:sldLayoutId id="2147483761" r:id="rId10"/>
    <p:sldLayoutId id="2147483760" r:id="rId11"/>
    <p:sldLayoutId id="2147483758" r:id="rId12"/>
    <p:sldLayoutId id="2147483779" r:id="rId13"/>
    <p:sldLayoutId id="2147483771" r:id="rId14"/>
    <p:sldLayoutId id="2147483772" r:id="rId15"/>
    <p:sldLayoutId id="2147483773" r:id="rId16"/>
    <p:sldLayoutId id="2147483777" r:id="rId17"/>
    <p:sldLayoutId id="2147483776" r:id="rId18"/>
    <p:sldLayoutId id="2147483765" r:id="rId19"/>
    <p:sldLayoutId id="2147483739" r:id="rId20"/>
    <p:sldLayoutId id="2147483755" r:id="rId21"/>
    <p:sldLayoutId id="2147483766" r:id="rId22"/>
    <p:sldLayoutId id="2147483762" r:id="rId23"/>
    <p:sldLayoutId id="2147483763" r:id="rId24"/>
    <p:sldLayoutId id="2147483775" r:id="rId25"/>
    <p:sldLayoutId id="2147483774" r:id="rId26"/>
    <p:sldLayoutId id="2147483768" r:id="rId27"/>
    <p:sldLayoutId id="2147483767" r:id="rId28"/>
    <p:sldLayoutId id="2147483734" r:id="rId29"/>
    <p:sldLayoutId id="2147483764" r:id="rId30"/>
    <p:sldLayoutId id="2147483732" r:id="rId31"/>
    <p:sldLayoutId id="2147483743" r:id="rId32"/>
    <p:sldLayoutId id="2147483744" r:id="rId33"/>
    <p:sldLayoutId id="2147483769" r:id="rId34"/>
    <p:sldLayoutId id="2147483756" r:id="rId35"/>
    <p:sldLayoutId id="2147483750" r:id="rId36"/>
    <p:sldLayoutId id="2147483751" r:id="rId37"/>
    <p:sldLayoutId id="2147483781" r:id="rId38"/>
    <p:sldLayoutId id="2147483782" r:id="rId39"/>
    <p:sldLayoutId id="2147483784" r:id="rId4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350" i="1" kern="1200">
          <a:solidFill>
            <a:schemeClr val="tx1"/>
          </a:solidFill>
          <a:latin typeface="Maersk Headline Office" panose="00000500000000000000" pitchFamily="2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6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500" b="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chemeClr val="accent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68" userDrawn="1">
          <p15:clr>
            <a:srgbClr val="F26B43"/>
          </p15:clr>
        </p15:guide>
        <p15:guide id="3" orient="horz" pos="315" userDrawn="1">
          <p15:clr>
            <a:srgbClr val="F26B43"/>
          </p15:clr>
        </p15:guide>
        <p15:guide id="4" orient="horz" pos="4009" userDrawn="1">
          <p15:clr>
            <a:srgbClr val="F26B43"/>
          </p15:clr>
        </p15:guide>
        <p15:guide id="5" pos="917" userDrawn="1">
          <p15:clr>
            <a:srgbClr val="F26B43"/>
          </p15:clr>
        </p15:guide>
        <p15:guide id="6" pos="1368" userDrawn="1">
          <p15:clr>
            <a:srgbClr val="F26B43"/>
          </p15:clr>
        </p15:guide>
        <p15:guide id="7" pos="5116" userDrawn="1">
          <p15:clr>
            <a:srgbClr val="F26B43"/>
          </p15:clr>
        </p15:guide>
        <p15:guide id="8" pos="5567" userDrawn="1">
          <p15:clr>
            <a:srgbClr val="F26B43"/>
          </p15:clr>
        </p15:guide>
        <p15:guide id="9" pos="5716" userDrawn="1">
          <p15:clr>
            <a:srgbClr val="F26B43"/>
          </p15:clr>
        </p15:guide>
        <p15:guide id="10" pos="6167" userDrawn="1">
          <p15:clr>
            <a:srgbClr val="F26B43"/>
          </p15:clr>
        </p15:guide>
        <p15:guide id="11" pos="6316" userDrawn="1">
          <p15:clr>
            <a:srgbClr val="F26B43"/>
          </p15:clr>
        </p15:guide>
        <p15:guide id="12" pos="6767" userDrawn="1">
          <p15:clr>
            <a:srgbClr val="F26B43"/>
          </p15:clr>
        </p15:guide>
        <p15:guide id="13" pos="6915" userDrawn="1">
          <p15:clr>
            <a:srgbClr val="F26B43"/>
          </p15:clr>
        </p15:guide>
        <p15:guide id="15" pos="4516" userDrawn="1">
          <p15:clr>
            <a:srgbClr val="F26B43"/>
          </p15:clr>
        </p15:guide>
        <p15:guide id="16" pos="4967" userDrawn="1">
          <p15:clr>
            <a:srgbClr val="F26B43"/>
          </p15:clr>
        </p15:guide>
        <p15:guide id="17" pos="3916" userDrawn="1">
          <p15:clr>
            <a:srgbClr val="F26B43"/>
          </p15:clr>
        </p15:guide>
        <p15:guide id="18" pos="4367" userDrawn="1">
          <p15:clr>
            <a:srgbClr val="F26B43"/>
          </p15:clr>
        </p15:guide>
        <p15:guide id="19" pos="3316" userDrawn="1">
          <p15:clr>
            <a:srgbClr val="F26B43"/>
          </p15:clr>
        </p15:guide>
        <p15:guide id="20" pos="3767" userDrawn="1">
          <p15:clr>
            <a:srgbClr val="F26B43"/>
          </p15:clr>
        </p15:guide>
        <p15:guide id="21" pos="2717" userDrawn="1">
          <p15:clr>
            <a:srgbClr val="F26B43"/>
          </p15:clr>
        </p15:guide>
        <p15:guide id="22" pos="3168" userDrawn="1">
          <p15:clr>
            <a:srgbClr val="F26B43"/>
          </p15:clr>
        </p15:guide>
        <p15:guide id="23" pos="2117" userDrawn="1">
          <p15:clr>
            <a:srgbClr val="F26B43"/>
          </p15:clr>
        </p15:guide>
        <p15:guide id="24" pos="2568" userDrawn="1">
          <p15:clr>
            <a:srgbClr val="F26B43"/>
          </p15:clr>
        </p15:guide>
        <p15:guide id="25" pos="1517" userDrawn="1">
          <p15:clr>
            <a:srgbClr val="F26B43"/>
          </p15:clr>
        </p15:guide>
        <p15:guide id="26" pos="1968" userDrawn="1">
          <p15:clr>
            <a:srgbClr val="F26B43"/>
          </p15:clr>
        </p15:guide>
        <p15:guide id="28" pos="7363" userDrawn="1">
          <p15:clr>
            <a:srgbClr val="F26B43"/>
          </p15:clr>
        </p15:guide>
        <p15:guide id="29" orient="horz" pos="1224" userDrawn="1">
          <p15:clr>
            <a:srgbClr val="F26B43"/>
          </p15:clr>
        </p15:guide>
        <p15:guide id="30" orient="horz" pos="1570" userDrawn="1">
          <p15:clr>
            <a:srgbClr val="F26B43"/>
          </p15:clr>
        </p15:guide>
        <p15:guide id="31" orient="horz" pos="1721" userDrawn="1">
          <p15:clr>
            <a:srgbClr val="F26B43"/>
          </p15:clr>
        </p15:guide>
        <p15:guide id="32" orient="horz" pos="2067" userDrawn="1">
          <p15:clr>
            <a:srgbClr val="F26B43"/>
          </p15:clr>
        </p15:guide>
        <p15:guide id="33" orient="horz" pos="2218" userDrawn="1">
          <p15:clr>
            <a:srgbClr val="F26B43"/>
          </p15:clr>
        </p15:guide>
        <p15:guide id="34" orient="horz" pos="2564" userDrawn="1">
          <p15:clr>
            <a:srgbClr val="F26B43"/>
          </p15:clr>
        </p15:guide>
        <p15:guide id="35" orient="horz" pos="2714" userDrawn="1">
          <p15:clr>
            <a:srgbClr val="F26B43"/>
          </p15:clr>
        </p15:guide>
        <p15:guide id="36" orient="horz" pos="3060" userDrawn="1">
          <p15:clr>
            <a:srgbClr val="F26B43"/>
          </p15:clr>
        </p15:guide>
        <p15:guide id="37" orient="horz" pos="3203" userDrawn="1">
          <p15:clr>
            <a:srgbClr val="F26B43"/>
          </p15:clr>
        </p15:guide>
        <p15:guide id="38" orient="horz" pos="3548" userDrawn="1">
          <p15:clr>
            <a:srgbClr val="F26B43"/>
          </p15:clr>
        </p15:guide>
        <p15:guide id="39" pos="315" userDrawn="1">
          <p15:clr>
            <a:srgbClr val="F26B43"/>
          </p15:clr>
        </p15:guide>
        <p15:guide id="40" pos="7364" userDrawn="1">
          <p15:clr>
            <a:srgbClr val="F26B43"/>
          </p15:clr>
        </p15:guide>
        <p15:guide id="41" orient="horz" pos="902" userDrawn="1">
          <p15:clr>
            <a:srgbClr val="F26B43"/>
          </p15:clr>
        </p15:guide>
        <p15:guide id="42" orient="horz" pos="2160" userDrawn="1">
          <p15:clr>
            <a:srgbClr val="000000"/>
          </p15:clr>
        </p15:guide>
        <p15:guide id="43" pos="3840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martinfowler.com/bliki/BlueGreenDeployment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transport-logistics.visualstudio.com/Documentation%20-%20OHP/_release?definitionId=76&amp;view=mine&amp;_a=releases" TargetMode="Externa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566501-0012-B4E4-2627-FA88F71F0B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5548" y="2732088"/>
            <a:ext cx="9776051" cy="1816100"/>
          </a:xfrm>
        </p:spPr>
        <p:txBody>
          <a:bodyPr/>
          <a:lstStyle/>
          <a:p>
            <a:r>
              <a:rPr lang="en-US" sz="4800"/>
              <a:t>SRE Personal Use-Case</a:t>
            </a:r>
            <a:br>
              <a:rPr lang="en-US"/>
            </a:br>
            <a:r>
              <a:rPr lang="en-US"/>
              <a:t> - </a:t>
            </a:r>
            <a:r>
              <a:rPr lang="en-US" sz="2000"/>
              <a:t>Gagandeep Singh &amp; </a:t>
            </a:r>
            <a:r>
              <a:rPr lang="en-US" sz="2000" err="1"/>
              <a:t>Amresh</a:t>
            </a:r>
            <a:r>
              <a:rPr lang="en-US" sz="2000"/>
              <a:t> Krishnamurthy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D1E9A0-A6AA-76D7-95F1-61E27AD68D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D9CC9A-A366-F7FC-6885-1C1D1FCB28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158214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2D9F84-A886-4E0B-8E94-DFCA0DD7BB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C0689A6-44E8-7FE7-3F13-75519E43F4E3}"/>
              </a:ext>
            </a:extLst>
          </p:cNvPr>
          <p:cNvSpPr txBox="1"/>
          <p:nvPr/>
        </p:nvSpPr>
        <p:spPr>
          <a:xfrm>
            <a:off x="494553" y="-10703"/>
            <a:ext cx="11202894" cy="1095394"/>
          </a:xfrm>
          <a:prstGeom prst="rect">
            <a:avLst/>
          </a:prstGeom>
          <a:noFill/>
        </p:spPr>
        <p:txBody>
          <a:bodyPr wrap="square" lIns="237600" tIns="237600" rIns="237600" bIns="237600" rtlCol="0">
            <a:spAutoFit/>
          </a:bodyPr>
          <a:lstStyle/>
          <a:p>
            <a:pPr algn="l"/>
            <a:r>
              <a:rPr lang="en-US" sz="4000" b="1">
                <a:latin typeface="+mj-lt"/>
              </a:rPr>
              <a:t>Where in the customer’s journey do we fit in?</a:t>
            </a:r>
          </a:p>
        </p:txBody>
      </p:sp>
      <p:pic>
        <p:nvPicPr>
          <p:cNvPr id="7" name="Picture 6" descr="poster_design.jpg">
            <a:extLst>
              <a:ext uri="{FF2B5EF4-FFF2-40B4-BE49-F238E27FC236}">
                <a16:creationId xmlns:a16="http://schemas.microsoft.com/office/drawing/2014/main" id="{5869A800-3E71-4880-9659-52EAF8451FE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1676400" y="1088304"/>
            <a:ext cx="8991600" cy="5460134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59E7CDFE-0536-4025-A758-8D1C71F25555}"/>
              </a:ext>
            </a:extLst>
          </p:cNvPr>
          <p:cNvSpPr/>
          <p:nvPr/>
        </p:nvSpPr>
        <p:spPr>
          <a:xfrm>
            <a:off x="5043055" y="1084691"/>
            <a:ext cx="1431636" cy="1298291"/>
          </a:xfrm>
          <a:prstGeom prst="ellipse">
            <a:avLst/>
          </a:prstGeom>
          <a:noFill/>
          <a:ln w="762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IN" sz="2000" noProof="0" err="1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3E9736B-1656-4B96-A88E-A01A643E3542}"/>
              </a:ext>
            </a:extLst>
          </p:cNvPr>
          <p:cNvSpPr/>
          <p:nvPr/>
        </p:nvSpPr>
        <p:spPr>
          <a:xfrm>
            <a:off x="3597564" y="4563769"/>
            <a:ext cx="1431636" cy="1298291"/>
          </a:xfrm>
          <a:prstGeom prst="ellipse">
            <a:avLst/>
          </a:prstGeom>
          <a:noFill/>
          <a:ln w="762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IN" sz="2000" noProof="0" err="1"/>
          </a:p>
        </p:txBody>
      </p:sp>
    </p:spTree>
    <p:extLst>
      <p:ext uri="{BB962C8B-B14F-4D97-AF65-F5344CB8AC3E}">
        <p14:creationId xmlns:p14="http://schemas.microsoft.com/office/powerpoint/2010/main" val="13636061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8B7716-DB26-2F69-F1A6-DCD28A8C4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Current Deployment-Process &amp; Problem Stat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8A0202-AA1C-D617-CA5B-17CECBA5F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F88105-8CEE-49B7-C731-B19DFBA960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E6F777F-D35A-89F4-0E69-BDBCF7BCB3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58" y="1317015"/>
            <a:ext cx="10906832" cy="107366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61A477D-F6A2-DCD3-51EB-9C76DB99D208}"/>
              </a:ext>
            </a:extLst>
          </p:cNvPr>
          <p:cNvSpPr txBox="1"/>
          <p:nvPr/>
        </p:nvSpPr>
        <p:spPr>
          <a:xfrm>
            <a:off x="6235444" y="3218849"/>
            <a:ext cx="4700450" cy="3249830"/>
          </a:xfrm>
          <a:prstGeom prst="rect">
            <a:avLst/>
          </a:prstGeom>
          <a:noFill/>
        </p:spPr>
        <p:txBody>
          <a:bodyPr wrap="square" lIns="237600" tIns="237600" rIns="237600" bIns="23760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/>
              <a:t>Intermittent Request Failures during deployment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00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/>
              <a:t>No defined roll-back strategy in place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00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/>
              <a:t>Non-Peak deployments / Weekend Deployments/ Low confiden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DD2D42-112E-CCDB-B11D-30DFBF94B893}"/>
              </a:ext>
            </a:extLst>
          </p:cNvPr>
          <p:cNvSpPr txBox="1"/>
          <p:nvPr/>
        </p:nvSpPr>
        <p:spPr>
          <a:xfrm>
            <a:off x="1115634" y="3304075"/>
            <a:ext cx="4979740" cy="2326500"/>
          </a:xfrm>
          <a:prstGeom prst="rect">
            <a:avLst/>
          </a:prstGeom>
          <a:noFill/>
        </p:spPr>
        <p:txBody>
          <a:bodyPr wrap="square" lIns="237600" tIns="237600" rIns="237600" bIns="23760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/>
              <a:t>Critical services are integrated with </a:t>
            </a:r>
            <a:r>
              <a:rPr lang="en-US" sz="2000" err="1"/>
              <a:t>Maersk.COM</a:t>
            </a:r>
            <a:r>
              <a:rPr lang="en-US" sz="2000"/>
              <a:t> customer Journe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00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/>
              <a:t>Peak Volume of 70K TPH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00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/>
              <a:t>Event driven archite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935822-A6F1-E905-532E-0B5D90B1F728}"/>
              </a:ext>
            </a:extLst>
          </p:cNvPr>
          <p:cNvSpPr txBox="1"/>
          <p:nvPr/>
        </p:nvSpPr>
        <p:spPr>
          <a:xfrm>
            <a:off x="2093114" y="2492787"/>
            <a:ext cx="2798200" cy="787617"/>
          </a:xfrm>
          <a:prstGeom prst="rect">
            <a:avLst/>
          </a:prstGeom>
          <a:noFill/>
        </p:spPr>
        <p:txBody>
          <a:bodyPr wrap="square" lIns="237600" tIns="237600" rIns="237600" bIns="237600" rtlCol="0">
            <a:spAutoFit/>
          </a:bodyPr>
          <a:lstStyle/>
          <a:p>
            <a:pPr algn="l"/>
            <a:r>
              <a:rPr lang="en-US" sz="2000" b="1"/>
              <a:t>Service landscap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143F61-27B1-1B75-0237-F4D9579CEB88}"/>
              </a:ext>
            </a:extLst>
          </p:cNvPr>
          <p:cNvSpPr txBox="1"/>
          <p:nvPr/>
        </p:nvSpPr>
        <p:spPr>
          <a:xfrm>
            <a:off x="7106301" y="2418425"/>
            <a:ext cx="4912089" cy="787617"/>
          </a:xfrm>
          <a:prstGeom prst="rect">
            <a:avLst/>
          </a:prstGeom>
          <a:noFill/>
        </p:spPr>
        <p:txBody>
          <a:bodyPr wrap="square" lIns="237600" tIns="237600" rIns="237600" bIns="237600" rtlCol="0">
            <a:spAutoFit/>
          </a:bodyPr>
          <a:lstStyle/>
          <a:p>
            <a:pPr algn="l"/>
            <a:r>
              <a:rPr lang="en-US" sz="2000" b="1"/>
              <a:t>Problems Observed</a:t>
            </a:r>
          </a:p>
        </p:txBody>
      </p:sp>
    </p:spTree>
    <p:extLst>
      <p:ext uri="{BB962C8B-B14F-4D97-AF65-F5344CB8AC3E}">
        <p14:creationId xmlns:p14="http://schemas.microsoft.com/office/powerpoint/2010/main" val="3802598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1" grpId="0"/>
      <p:bldP spid="1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5B45B8-AA93-0DBC-2368-7A39BF426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Solution – Implement Blue/Green Deployment Strate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77015A-7BD7-0A7B-D778-6E3422E22D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398" y="1325262"/>
            <a:ext cx="11189951" cy="4321776"/>
          </a:xfrm>
        </p:spPr>
        <p:txBody>
          <a:bodyPr/>
          <a:lstStyle/>
          <a:p>
            <a:r>
              <a:rPr lang="en-US"/>
              <a:t> </a:t>
            </a:r>
            <a:r>
              <a:rPr lang="en-US" sz="2400"/>
              <a:t>What is - </a:t>
            </a:r>
            <a:r>
              <a:rPr lang="en-US" sz="2400">
                <a:hlinkClick r:id="rId3"/>
              </a:rPr>
              <a:t>Blue/Green Strategy</a:t>
            </a:r>
            <a:endParaRPr lang="en-US" sz="2400"/>
          </a:p>
          <a:p>
            <a:endParaRPr lang="en-US" sz="2400"/>
          </a:p>
          <a:p>
            <a:pPr marL="0" indent="0">
              <a:buNone/>
            </a:pPr>
            <a:endParaRPr lang="en-US" sz="24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1E10CB-7DEB-A82F-4A44-0CDBDE5A5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C7227FE-3313-9AAD-1EE4-BD68E23B05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3FE43BA-2579-6CCC-05B9-AA7A39085F87}"/>
              </a:ext>
            </a:extLst>
          </p:cNvPr>
          <p:cNvGrpSpPr/>
          <p:nvPr/>
        </p:nvGrpSpPr>
        <p:grpSpPr>
          <a:xfrm>
            <a:off x="1594710" y="2387847"/>
            <a:ext cx="9378090" cy="3968504"/>
            <a:chOff x="2871825" y="2213120"/>
            <a:chExt cx="9092461" cy="3906094"/>
          </a:xfrm>
        </p:grpSpPr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59629217-B002-0171-B71A-9CA171AA3BEE}"/>
                </a:ext>
              </a:extLst>
            </p:cNvPr>
            <p:cNvCxnSpPr/>
            <p:nvPr/>
          </p:nvCxnSpPr>
          <p:spPr>
            <a:xfrm flipV="1">
              <a:off x="4504569" y="3429000"/>
              <a:ext cx="575431" cy="281865"/>
            </a:xfrm>
            <a:prstGeom prst="straightConnector1">
              <a:avLst/>
            </a:prstGeom>
            <a:ln w="1270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EC4BCF66-6B0C-E693-7990-332C25859B48}"/>
                </a:ext>
              </a:extLst>
            </p:cNvPr>
            <p:cNvCxnSpPr/>
            <p:nvPr/>
          </p:nvCxnSpPr>
          <p:spPr>
            <a:xfrm>
              <a:off x="4531889" y="4578937"/>
              <a:ext cx="497828" cy="399670"/>
            </a:xfrm>
            <a:prstGeom prst="straightConnector1">
              <a:avLst/>
            </a:prstGeom>
            <a:ln w="1270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16E07DE3-1D5A-1320-779A-70BBE9F88300}"/>
                </a:ext>
              </a:extLst>
            </p:cNvPr>
            <p:cNvGrpSpPr/>
            <p:nvPr/>
          </p:nvGrpSpPr>
          <p:grpSpPr>
            <a:xfrm>
              <a:off x="2871825" y="2213120"/>
              <a:ext cx="9092461" cy="3906094"/>
              <a:chOff x="2861884" y="2351314"/>
              <a:chExt cx="9092461" cy="3906094"/>
            </a:xfrm>
          </p:grpSpPr>
          <p:sp>
            <p:nvSpPr>
              <p:cNvPr id="8" name="Hexagon 7">
                <a:extLst>
                  <a:ext uri="{FF2B5EF4-FFF2-40B4-BE49-F238E27FC236}">
                    <a16:creationId xmlns:a16="http://schemas.microsoft.com/office/drawing/2014/main" id="{FCEEBCA4-F67F-C41E-8E8C-861D81A34902}"/>
                  </a:ext>
                </a:extLst>
              </p:cNvPr>
              <p:cNvSpPr/>
              <p:nvPr/>
            </p:nvSpPr>
            <p:spPr>
              <a:xfrm>
                <a:off x="2861884" y="3734186"/>
                <a:ext cx="1419830" cy="1190172"/>
              </a:xfrm>
              <a:prstGeom prst="hexagon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r>
                  <a:rPr lang="en-US" sz="2000" noProof="0"/>
                  <a:t>Ing </a:t>
                </a: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73CDD95A-3713-FBB1-480F-58B9E0BF0626}"/>
                  </a:ext>
                </a:extLst>
              </p:cNvPr>
              <p:cNvSpPr/>
              <p:nvPr/>
            </p:nvSpPr>
            <p:spPr>
              <a:xfrm>
                <a:off x="5249828" y="2618568"/>
                <a:ext cx="1393372" cy="1190173"/>
              </a:xfrm>
              <a:prstGeom prst="ellips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r>
                  <a:rPr lang="en-US" sz="2000" noProof="0"/>
                  <a:t>Svc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4E63A258-0EA6-E239-BD7C-820745F58410}"/>
                  </a:ext>
                </a:extLst>
              </p:cNvPr>
              <p:cNvSpPr txBox="1"/>
              <p:nvPr/>
            </p:nvSpPr>
            <p:spPr>
              <a:xfrm>
                <a:off x="4594911" y="3603210"/>
                <a:ext cx="2703206" cy="726062"/>
              </a:xfrm>
              <a:prstGeom prst="rect">
                <a:avLst/>
              </a:prstGeom>
              <a:noFill/>
            </p:spPr>
            <p:txBody>
              <a:bodyPr wrap="squar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Service : Prod , Slot Blue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AFE1A22-9C77-D7FA-9E93-AD1ED859B59D}"/>
                  </a:ext>
                </a:extLst>
              </p:cNvPr>
              <p:cNvSpPr/>
              <p:nvPr/>
            </p:nvSpPr>
            <p:spPr>
              <a:xfrm>
                <a:off x="5241056" y="4546704"/>
                <a:ext cx="1393372" cy="1190173"/>
              </a:xfrm>
              <a:prstGeom prst="ellipse">
                <a:avLst/>
              </a:prstGeom>
              <a:solidFill>
                <a:srgbClr val="92D050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r>
                  <a:rPr lang="en-US" sz="2000" noProof="0"/>
                  <a:t>Svc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AB285892-14A5-A988-B9E2-38340EA70F75}"/>
                  </a:ext>
                </a:extLst>
              </p:cNvPr>
              <p:cNvSpPr txBox="1"/>
              <p:nvPr/>
            </p:nvSpPr>
            <p:spPr>
              <a:xfrm>
                <a:off x="4586139" y="5531346"/>
                <a:ext cx="2924421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Service : Stage , Slot Green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BFE43EE1-F697-C98F-0945-E2A7FD27466E}"/>
                  </a:ext>
                </a:extLst>
              </p:cNvPr>
              <p:cNvSpPr/>
              <p:nvPr/>
            </p:nvSpPr>
            <p:spPr>
              <a:xfrm>
                <a:off x="7939314" y="2351314"/>
                <a:ext cx="1611086" cy="1457427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/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02F8B4E5-611F-432C-9E31-76FD4DA137D8}"/>
                  </a:ext>
                </a:extLst>
              </p:cNvPr>
              <p:cNvSpPr/>
              <p:nvPr/>
            </p:nvSpPr>
            <p:spPr>
              <a:xfrm>
                <a:off x="7939314" y="4494796"/>
                <a:ext cx="1611086" cy="1457427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A089C71E-4BDD-2C33-D7DF-B8F9E69D51C0}"/>
                  </a:ext>
                </a:extLst>
              </p:cNvPr>
              <p:cNvSpPr/>
              <p:nvPr/>
            </p:nvSpPr>
            <p:spPr>
              <a:xfrm>
                <a:off x="8466052" y="2507056"/>
                <a:ext cx="557609" cy="45630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 err="1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41317BF4-0E2D-D382-D796-1E4F8441CB44}"/>
                  </a:ext>
                </a:extLst>
              </p:cNvPr>
              <p:cNvSpPr/>
              <p:nvPr/>
            </p:nvSpPr>
            <p:spPr>
              <a:xfrm>
                <a:off x="8466052" y="3083177"/>
                <a:ext cx="557609" cy="45630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 err="1"/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657E92F-8752-E4B9-C27D-842F930D0CD6}"/>
                  </a:ext>
                </a:extLst>
              </p:cNvPr>
              <p:cNvSpPr txBox="1"/>
              <p:nvPr/>
            </p:nvSpPr>
            <p:spPr>
              <a:xfrm>
                <a:off x="10254619" y="3710865"/>
                <a:ext cx="1699726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Deployments</a:t>
                </a:r>
              </a:p>
            </p:txBody>
          </p:sp>
          <p:sp>
            <p:nvSpPr>
              <p:cNvPr id="22" name="Right Brace 21">
                <a:extLst>
                  <a:ext uri="{FF2B5EF4-FFF2-40B4-BE49-F238E27FC236}">
                    <a16:creationId xmlns:a16="http://schemas.microsoft.com/office/drawing/2014/main" id="{F42F32D1-DE8E-E40C-4A6F-F9614639A9DF}"/>
                  </a:ext>
                </a:extLst>
              </p:cNvPr>
              <p:cNvSpPr/>
              <p:nvPr/>
            </p:nvSpPr>
            <p:spPr>
              <a:xfrm>
                <a:off x="9770511" y="2963359"/>
                <a:ext cx="421086" cy="2221075"/>
              </a:xfrm>
              <a:prstGeom prst="rightBrac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4" name="Straight Arrow Connector 23">
                <a:extLst>
                  <a:ext uri="{FF2B5EF4-FFF2-40B4-BE49-F238E27FC236}">
                    <a16:creationId xmlns:a16="http://schemas.microsoft.com/office/drawing/2014/main" id="{1F07DC1C-4205-A287-AB87-09546FAE496C}"/>
                  </a:ext>
                </a:extLst>
              </p:cNvPr>
              <p:cNvCxnSpPr/>
              <p:nvPr/>
            </p:nvCxnSpPr>
            <p:spPr>
              <a:xfrm>
                <a:off x="7075129" y="3080027"/>
                <a:ext cx="443099" cy="0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512AC088-C659-EED1-25D9-74CEE1B1CAF4}"/>
                  </a:ext>
                </a:extLst>
              </p:cNvPr>
              <p:cNvCxnSpPr/>
              <p:nvPr/>
            </p:nvCxnSpPr>
            <p:spPr>
              <a:xfrm>
                <a:off x="7075129" y="5110468"/>
                <a:ext cx="529186" cy="0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EAEA2CFA-4495-9B54-F456-26E552A2DD8C}"/>
                  </a:ext>
                </a:extLst>
              </p:cNvPr>
              <p:cNvSpPr txBox="1"/>
              <p:nvPr/>
            </p:nvSpPr>
            <p:spPr>
              <a:xfrm>
                <a:off x="3678825" y="2976130"/>
                <a:ext cx="1415994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host: prod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C0D36369-7D0B-331A-A521-B29C9CF784A4}"/>
                  </a:ext>
                </a:extLst>
              </p:cNvPr>
              <p:cNvSpPr txBox="1"/>
              <p:nvPr/>
            </p:nvSpPr>
            <p:spPr>
              <a:xfrm>
                <a:off x="3656993" y="4858451"/>
                <a:ext cx="1491336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host: stage</a:t>
                </a:r>
              </a:p>
            </p:txBody>
          </p:sp>
        </p:grp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250CEDC0-6200-8BA0-E882-3AB3F9CEAD70}"/>
              </a:ext>
            </a:extLst>
          </p:cNvPr>
          <p:cNvSpPr txBox="1"/>
          <p:nvPr/>
        </p:nvSpPr>
        <p:spPr>
          <a:xfrm>
            <a:off x="1340575" y="1771240"/>
            <a:ext cx="10982133" cy="726062"/>
          </a:xfrm>
          <a:prstGeom prst="rect">
            <a:avLst/>
          </a:prstGeom>
          <a:noFill/>
        </p:spPr>
        <p:txBody>
          <a:bodyPr wrap="square" lIns="237600" tIns="237600" rIns="237600" bIns="237600" rtlCol="0">
            <a:spAutoFit/>
          </a:bodyPr>
          <a:lstStyle/>
          <a:p>
            <a:pPr algn="l"/>
            <a:r>
              <a:rPr lang="en-US" sz="1600"/>
              <a:t>Initial Stage – Prod service and prod deployment available in the blue slot. Service selector points to blue</a:t>
            </a:r>
          </a:p>
        </p:txBody>
      </p:sp>
    </p:spTree>
    <p:extLst>
      <p:ext uri="{BB962C8B-B14F-4D97-AF65-F5344CB8AC3E}">
        <p14:creationId xmlns:p14="http://schemas.microsoft.com/office/powerpoint/2010/main" val="19722248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2C17C-F11C-3688-B612-8E41553078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E85729-F7D1-7E1B-79E9-B83E5F7B57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/>
              <a:t>.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6FFC6DA-51B9-1637-2C27-E2E47019BD41}"/>
              </a:ext>
            </a:extLst>
          </p:cNvPr>
          <p:cNvGrpSpPr/>
          <p:nvPr/>
        </p:nvGrpSpPr>
        <p:grpSpPr>
          <a:xfrm>
            <a:off x="1710824" y="1880752"/>
            <a:ext cx="9092461" cy="3906094"/>
            <a:chOff x="2871825" y="2213120"/>
            <a:chExt cx="9092461" cy="3906094"/>
          </a:xfrm>
        </p:grpSpPr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126DDBBD-803E-E264-C946-481EB87142CA}"/>
                </a:ext>
              </a:extLst>
            </p:cNvPr>
            <p:cNvCxnSpPr/>
            <p:nvPr/>
          </p:nvCxnSpPr>
          <p:spPr>
            <a:xfrm flipV="1">
              <a:off x="4504569" y="3429000"/>
              <a:ext cx="575431" cy="281865"/>
            </a:xfrm>
            <a:prstGeom prst="straightConnector1">
              <a:avLst/>
            </a:prstGeom>
            <a:ln w="1270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4EAEF2B6-470E-E4D4-2799-EFA11082B59D}"/>
                </a:ext>
              </a:extLst>
            </p:cNvPr>
            <p:cNvCxnSpPr/>
            <p:nvPr/>
          </p:nvCxnSpPr>
          <p:spPr>
            <a:xfrm>
              <a:off x="4531889" y="4578937"/>
              <a:ext cx="497828" cy="399670"/>
            </a:xfrm>
            <a:prstGeom prst="straightConnector1">
              <a:avLst/>
            </a:prstGeom>
            <a:ln w="1270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0749614A-883C-6353-2882-A0ECFE4F2AA5}"/>
                </a:ext>
              </a:extLst>
            </p:cNvPr>
            <p:cNvGrpSpPr/>
            <p:nvPr/>
          </p:nvGrpSpPr>
          <p:grpSpPr>
            <a:xfrm>
              <a:off x="2871825" y="2213120"/>
              <a:ext cx="9092461" cy="3906094"/>
              <a:chOff x="2861884" y="2351314"/>
              <a:chExt cx="9092461" cy="3906094"/>
            </a:xfrm>
          </p:grpSpPr>
          <p:sp>
            <p:nvSpPr>
              <p:cNvPr id="41" name="Hexagon 40">
                <a:extLst>
                  <a:ext uri="{FF2B5EF4-FFF2-40B4-BE49-F238E27FC236}">
                    <a16:creationId xmlns:a16="http://schemas.microsoft.com/office/drawing/2014/main" id="{FCA6CC47-5F23-185B-7ECD-2A22ED3A26C7}"/>
                  </a:ext>
                </a:extLst>
              </p:cNvPr>
              <p:cNvSpPr/>
              <p:nvPr/>
            </p:nvSpPr>
            <p:spPr>
              <a:xfrm>
                <a:off x="2861884" y="3734186"/>
                <a:ext cx="1419830" cy="1190172"/>
              </a:xfrm>
              <a:prstGeom prst="hexagon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r>
                  <a:rPr lang="en-US" sz="2000" noProof="0"/>
                  <a:t>Ing </a:t>
                </a: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2C00BA7D-5937-D52D-08A4-CA337D241F34}"/>
                  </a:ext>
                </a:extLst>
              </p:cNvPr>
              <p:cNvSpPr/>
              <p:nvPr/>
            </p:nvSpPr>
            <p:spPr>
              <a:xfrm>
                <a:off x="5249828" y="2618568"/>
                <a:ext cx="1393372" cy="1190173"/>
              </a:xfrm>
              <a:prstGeom prst="ellips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r>
                  <a:rPr lang="en-US" sz="2000" noProof="0"/>
                  <a:t>Svc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1802D1D8-82AD-6BBF-B7DD-F1814449CA4B}"/>
                  </a:ext>
                </a:extLst>
              </p:cNvPr>
              <p:cNvSpPr txBox="1"/>
              <p:nvPr/>
            </p:nvSpPr>
            <p:spPr>
              <a:xfrm>
                <a:off x="4594911" y="3603210"/>
                <a:ext cx="2703206" cy="726062"/>
              </a:xfrm>
              <a:prstGeom prst="rect">
                <a:avLst/>
              </a:prstGeom>
              <a:noFill/>
            </p:spPr>
            <p:txBody>
              <a:bodyPr wrap="squar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Service : Prod , Slot Blue</a:t>
                </a: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4ECAB30E-5246-CE27-D355-4E08F65501C9}"/>
                  </a:ext>
                </a:extLst>
              </p:cNvPr>
              <p:cNvSpPr/>
              <p:nvPr/>
            </p:nvSpPr>
            <p:spPr>
              <a:xfrm>
                <a:off x="5241056" y="4546704"/>
                <a:ext cx="1393372" cy="1190173"/>
              </a:xfrm>
              <a:prstGeom prst="ellipse">
                <a:avLst/>
              </a:prstGeom>
              <a:solidFill>
                <a:srgbClr val="92D050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r>
                  <a:rPr lang="en-US" sz="2000" noProof="0"/>
                  <a:t>Svc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1C8FD7E7-BEC7-1DD2-348E-6208B37A8493}"/>
                  </a:ext>
                </a:extLst>
              </p:cNvPr>
              <p:cNvSpPr txBox="1"/>
              <p:nvPr/>
            </p:nvSpPr>
            <p:spPr>
              <a:xfrm>
                <a:off x="4586139" y="5531346"/>
                <a:ext cx="2924421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Service : Stage , Slot Green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1D82008-252B-BC5A-C04D-9F388BC7B689}"/>
                  </a:ext>
                </a:extLst>
              </p:cNvPr>
              <p:cNvSpPr/>
              <p:nvPr/>
            </p:nvSpPr>
            <p:spPr>
              <a:xfrm>
                <a:off x="7939314" y="2351314"/>
                <a:ext cx="1611086" cy="1457427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418B5B35-B158-6200-8135-9E5242706C49}"/>
                  </a:ext>
                </a:extLst>
              </p:cNvPr>
              <p:cNvSpPr/>
              <p:nvPr/>
            </p:nvSpPr>
            <p:spPr>
              <a:xfrm>
                <a:off x="7939314" y="4494796"/>
                <a:ext cx="1611086" cy="1457427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F13A330D-4175-17F4-1DF1-41ABF79A5B0A}"/>
                  </a:ext>
                </a:extLst>
              </p:cNvPr>
              <p:cNvSpPr/>
              <p:nvPr/>
            </p:nvSpPr>
            <p:spPr>
              <a:xfrm>
                <a:off x="8466052" y="2507056"/>
                <a:ext cx="557609" cy="45630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 err="1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D982C34D-66F4-D465-2FAB-5E4710AEDD36}"/>
                  </a:ext>
                </a:extLst>
              </p:cNvPr>
              <p:cNvSpPr/>
              <p:nvPr/>
            </p:nvSpPr>
            <p:spPr>
              <a:xfrm>
                <a:off x="8466052" y="3083177"/>
                <a:ext cx="557609" cy="45630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 err="1"/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7E5E8CD8-5DF3-AF27-EFD3-63F55AC937D2}"/>
                  </a:ext>
                </a:extLst>
              </p:cNvPr>
              <p:cNvSpPr txBox="1"/>
              <p:nvPr/>
            </p:nvSpPr>
            <p:spPr>
              <a:xfrm>
                <a:off x="10254619" y="3710865"/>
                <a:ext cx="1699726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Deployments</a:t>
                </a:r>
              </a:p>
            </p:txBody>
          </p:sp>
          <p:sp>
            <p:nvSpPr>
              <p:cNvPr id="51" name="Right Brace 50">
                <a:extLst>
                  <a:ext uri="{FF2B5EF4-FFF2-40B4-BE49-F238E27FC236}">
                    <a16:creationId xmlns:a16="http://schemas.microsoft.com/office/drawing/2014/main" id="{BF90E2F0-CF4B-0C2C-015B-55717186B426}"/>
                  </a:ext>
                </a:extLst>
              </p:cNvPr>
              <p:cNvSpPr/>
              <p:nvPr/>
            </p:nvSpPr>
            <p:spPr>
              <a:xfrm>
                <a:off x="9770511" y="2963359"/>
                <a:ext cx="421086" cy="2221075"/>
              </a:xfrm>
              <a:prstGeom prst="rightBrac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36853B7B-BC50-D83C-FCB4-E09C819984C4}"/>
                  </a:ext>
                </a:extLst>
              </p:cNvPr>
              <p:cNvCxnSpPr/>
              <p:nvPr/>
            </p:nvCxnSpPr>
            <p:spPr>
              <a:xfrm>
                <a:off x="7075129" y="3080027"/>
                <a:ext cx="443099" cy="0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1B6C41F2-E7C8-DC3B-BE7A-298EB73C0C81}"/>
                  </a:ext>
                </a:extLst>
              </p:cNvPr>
              <p:cNvCxnSpPr/>
              <p:nvPr/>
            </p:nvCxnSpPr>
            <p:spPr>
              <a:xfrm>
                <a:off x="7075129" y="5110468"/>
                <a:ext cx="529186" cy="0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1CF07EE0-3466-C879-328C-E2BC2734FEDF}"/>
                  </a:ext>
                </a:extLst>
              </p:cNvPr>
              <p:cNvSpPr txBox="1"/>
              <p:nvPr/>
            </p:nvSpPr>
            <p:spPr>
              <a:xfrm>
                <a:off x="3678825" y="2976130"/>
                <a:ext cx="1415994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host: prod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CF23DB75-E091-80AB-A356-93B207AE55E2}"/>
                  </a:ext>
                </a:extLst>
              </p:cNvPr>
              <p:cNvSpPr txBox="1"/>
              <p:nvPr/>
            </p:nvSpPr>
            <p:spPr>
              <a:xfrm>
                <a:off x="3656993" y="4858451"/>
                <a:ext cx="1491336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host: stage</a:t>
                </a:r>
              </a:p>
            </p:txBody>
          </p:sp>
        </p:grp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C4FF63B4-7526-D583-F85E-1A68A4EC20B4}"/>
              </a:ext>
            </a:extLst>
          </p:cNvPr>
          <p:cNvSpPr/>
          <p:nvPr/>
        </p:nvSpPr>
        <p:spPr>
          <a:xfrm>
            <a:off x="7276757" y="4183603"/>
            <a:ext cx="557609" cy="456303"/>
          </a:xfrm>
          <a:prstGeom prst="ellipse">
            <a:avLst/>
          </a:prstGeom>
          <a:solidFill>
            <a:srgbClr val="0F7C0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US" sz="2000" noProof="0" err="1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DB9B1F2-0FB5-A880-F9DF-B8C2C8830347}"/>
              </a:ext>
            </a:extLst>
          </p:cNvPr>
          <p:cNvSpPr/>
          <p:nvPr/>
        </p:nvSpPr>
        <p:spPr>
          <a:xfrm>
            <a:off x="7314991" y="4834375"/>
            <a:ext cx="557609" cy="456303"/>
          </a:xfrm>
          <a:prstGeom prst="ellipse">
            <a:avLst/>
          </a:prstGeom>
          <a:solidFill>
            <a:srgbClr val="0F7C0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US" sz="2000" noProof="0" err="1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7ADBB5B-6F7F-8194-5F1C-38212A66995B}"/>
              </a:ext>
            </a:extLst>
          </p:cNvPr>
          <p:cNvSpPr txBox="1"/>
          <p:nvPr/>
        </p:nvSpPr>
        <p:spPr>
          <a:xfrm>
            <a:off x="1898224" y="374937"/>
            <a:ext cx="9376229" cy="1095394"/>
          </a:xfrm>
          <a:prstGeom prst="rect">
            <a:avLst/>
          </a:prstGeom>
          <a:noFill/>
        </p:spPr>
        <p:txBody>
          <a:bodyPr wrap="square" lIns="237600" tIns="237600" rIns="237600" bIns="237600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Deploy updated version of the application in the green slo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Ensure the version is rightly deployed and working as expected</a:t>
            </a:r>
          </a:p>
        </p:txBody>
      </p:sp>
    </p:spTree>
    <p:extLst>
      <p:ext uri="{BB962C8B-B14F-4D97-AF65-F5344CB8AC3E}">
        <p14:creationId xmlns:p14="http://schemas.microsoft.com/office/powerpoint/2010/main" val="26028638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2C17C-F11C-3688-B612-8E41553078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E85729-F7D1-7E1B-79E9-B83E5F7B57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/>
              <a:t>.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6FFC6DA-51B9-1637-2C27-E2E47019BD41}"/>
              </a:ext>
            </a:extLst>
          </p:cNvPr>
          <p:cNvGrpSpPr/>
          <p:nvPr/>
        </p:nvGrpSpPr>
        <p:grpSpPr>
          <a:xfrm>
            <a:off x="1710824" y="1880752"/>
            <a:ext cx="9092461" cy="3906094"/>
            <a:chOff x="2871825" y="2213120"/>
            <a:chExt cx="9092461" cy="3906094"/>
          </a:xfrm>
        </p:grpSpPr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126DDBBD-803E-E264-C946-481EB87142CA}"/>
                </a:ext>
              </a:extLst>
            </p:cNvPr>
            <p:cNvCxnSpPr/>
            <p:nvPr/>
          </p:nvCxnSpPr>
          <p:spPr>
            <a:xfrm flipV="1">
              <a:off x="4504569" y="3429000"/>
              <a:ext cx="575431" cy="281865"/>
            </a:xfrm>
            <a:prstGeom prst="straightConnector1">
              <a:avLst/>
            </a:prstGeom>
            <a:ln w="1270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4EAEF2B6-470E-E4D4-2799-EFA11082B59D}"/>
                </a:ext>
              </a:extLst>
            </p:cNvPr>
            <p:cNvCxnSpPr/>
            <p:nvPr/>
          </p:nvCxnSpPr>
          <p:spPr>
            <a:xfrm>
              <a:off x="4531889" y="4578937"/>
              <a:ext cx="497828" cy="399670"/>
            </a:xfrm>
            <a:prstGeom prst="straightConnector1">
              <a:avLst/>
            </a:prstGeom>
            <a:ln w="1270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0749614A-883C-6353-2882-A0ECFE4F2AA5}"/>
                </a:ext>
              </a:extLst>
            </p:cNvPr>
            <p:cNvGrpSpPr/>
            <p:nvPr/>
          </p:nvGrpSpPr>
          <p:grpSpPr>
            <a:xfrm>
              <a:off x="2871825" y="2213120"/>
              <a:ext cx="9092461" cy="3906094"/>
              <a:chOff x="2861884" y="2351314"/>
              <a:chExt cx="9092461" cy="3906094"/>
            </a:xfrm>
          </p:grpSpPr>
          <p:sp>
            <p:nvSpPr>
              <p:cNvPr id="41" name="Hexagon 40">
                <a:extLst>
                  <a:ext uri="{FF2B5EF4-FFF2-40B4-BE49-F238E27FC236}">
                    <a16:creationId xmlns:a16="http://schemas.microsoft.com/office/drawing/2014/main" id="{FCA6CC47-5F23-185B-7ECD-2A22ED3A26C7}"/>
                  </a:ext>
                </a:extLst>
              </p:cNvPr>
              <p:cNvSpPr/>
              <p:nvPr/>
            </p:nvSpPr>
            <p:spPr>
              <a:xfrm>
                <a:off x="2861884" y="3734186"/>
                <a:ext cx="1419830" cy="1190172"/>
              </a:xfrm>
              <a:prstGeom prst="hexagon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r>
                  <a:rPr lang="en-US" sz="2000" noProof="0"/>
                  <a:t>Ing </a:t>
                </a: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2C00BA7D-5937-D52D-08A4-CA337D241F34}"/>
                  </a:ext>
                </a:extLst>
              </p:cNvPr>
              <p:cNvSpPr/>
              <p:nvPr/>
            </p:nvSpPr>
            <p:spPr>
              <a:xfrm>
                <a:off x="5249828" y="2618568"/>
                <a:ext cx="1393372" cy="1190173"/>
              </a:xfrm>
              <a:prstGeom prst="ellips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r>
                  <a:rPr lang="en-US" sz="2000" noProof="0"/>
                  <a:t>Svc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1802D1D8-82AD-6BBF-B7DD-F1814449CA4B}"/>
                  </a:ext>
                </a:extLst>
              </p:cNvPr>
              <p:cNvSpPr txBox="1"/>
              <p:nvPr/>
            </p:nvSpPr>
            <p:spPr>
              <a:xfrm>
                <a:off x="4594911" y="3603210"/>
                <a:ext cx="2703206" cy="972283"/>
              </a:xfrm>
              <a:prstGeom prst="rect">
                <a:avLst/>
              </a:prstGeom>
              <a:noFill/>
            </p:spPr>
            <p:txBody>
              <a:bodyPr wrap="squar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Service : Prod , Slot Green</a:t>
                </a: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4ECAB30E-5246-CE27-D355-4E08F65501C9}"/>
                  </a:ext>
                </a:extLst>
              </p:cNvPr>
              <p:cNvSpPr/>
              <p:nvPr/>
            </p:nvSpPr>
            <p:spPr>
              <a:xfrm>
                <a:off x="5241056" y="4546704"/>
                <a:ext cx="1393372" cy="1190173"/>
              </a:xfrm>
              <a:prstGeom prst="ellipse">
                <a:avLst/>
              </a:prstGeom>
              <a:solidFill>
                <a:srgbClr val="92D050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r>
                  <a:rPr lang="en-US" sz="2000" noProof="0"/>
                  <a:t>Svc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1C8FD7E7-BEC7-1DD2-348E-6208B37A8493}"/>
                  </a:ext>
                </a:extLst>
              </p:cNvPr>
              <p:cNvSpPr txBox="1"/>
              <p:nvPr/>
            </p:nvSpPr>
            <p:spPr>
              <a:xfrm>
                <a:off x="4586139" y="5531346"/>
                <a:ext cx="2791371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Service : Stage , Slot Blue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1D82008-252B-BC5A-C04D-9F388BC7B689}"/>
                  </a:ext>
                </a:extLst>
              </p:cNvPr>
              <p:cNvSpPr/>
              <p:nvPr/>
            </p:nvSpPr>
            <p:spPr>
              <a:xfrm>
                <a:off x="7939314" y="2351314"/>
                <a:ext cx="1611086" cy="1457427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418B5B35-B158-6200-8135-9E5242706C49}"/>
                  </a:ext>
                </a:extLst>
              </p:cNvPr>
              <p:cNvSpPr/>
              <p:nvPr/>
            </p:nvSpPr>
            <p:spPr>
              <a:xfrm>
                <a:off x="7939314" y="4494796"/>
                <a:ext cx="1611086" cy="1457427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F13A330D-4175-17F4-1DF1-41ABF79A5B0A}"/>
                  </a:ext>
                </a:extLst>
              </p:cNvPr>
              <p:cNvSpPr/>
              <p:nvPr/>
            </p:nvSpPr>
            <p:spPr>
              <a:xfrm>
                <a:off x="8466052" y="2507056"/>
                <a:ext cx="557609" cy="45630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 err="1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D982C34D-66F4-D465-2FAB-5E4710AEDD36}"/>
                  </a:ext>
                </a:extLst>
              </p:cNvPr>
              <p:cNvSpPr/>
              <p:nvPr/>
            </p:nvSpPr>
            <p:spPr>
              <a:xfrm>
                <a:off x="8466052" y="3083177"/>
                <a:ext cx="557609" cy="45630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7600" tIns="237600" rIns="237600" bIns="237600" rtlCol="0" anchor="ctr"/>
              <a:lstStyle/>
              <a:p>
                <a:pPr algn="ctr"/>
                <a:endParaRPr lang="en-US" sz="2000" noProof="0" err="1"/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7E5E8CD8-5DF3-AF27-EFD3-63F55AC937D2}"/>
                  </a:ext>
                </a:extLst>
              </p:cNvPr>
              <p:cNvSpPr txBox="1"/>
              <p:nvPr/>
            </p:nvSpPr>
            <p:spPr>
              <a:xfrm>
                <a:off x="10254619" y="3710865"/>
                <a:ext cx="1699726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Deployments</a:t>
                </a:r>
              </a:p>
            </p:txBody>
          </p:sp>
          <p:sp>
            <p:nvSpPr>
              <p:cNvPr id="51" name="Right Brace 50">
                <a:extLst>
                  <a:ext uri="{FF2B5EF4-FFF2-40B4-BE49-F238E27FC236}">
                    <a16:creationId xmlns:a16="http://schemas.microsoft.com/office/drawing/2014/main" id="{BF90E2F0-CF4B-0C2C-015B-55717186B426}"/>
                  </a:ext>
                </a:extLst>
              </p:cNvPr>
              <p:cNvSpPr/>
              <p:nvPr/>
            </p:nvSpPr>
            <p:spPr>
              <a:xfrm>
                <a:off x="9770511" y="2963359"/>
                <a:ext cx="421086" cy="2221075"/>
              </a:xfrm>
              <a:prstGeom prst="rightBrac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36853B7B-BC50-D83C-FCB4-E09C819984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75129" y="3080027"/>
                <a:ext cx="650902" cy="2104407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1B6C41F2-E7C8-DC3B-BE7A-298EB73C0C8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075129" y="3080027"/>
                <a:ext cx="650902" cy="2030441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1CF07EE0-3466-C879-328C-E2BC2734FEDF}"/>
                  </a:ext>
                </a:extLst>
              </p:cNvPr>
              <p:cNvSpPr txBox="1"/>
              <p:nvPr/>
            </p:nvSpPr>
            <p:spPr>
              <a:xfrm>
                <a:off x="3678825" y="2976130"/>
                <a:ext cx="1415994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host: prod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CF23DB75-E091-80AB-A356-93B207AE55E2}"/>
                  </a:ext>
                </a:extLst>
              </p:cNvPr>
              <p:cNvSpPr txBox="1"/>
              <p:nvPr/>
            </p:nvSpPr>
            <p:spPr>
              <a:xfrm>
                <a:off x="3656993" y="4858451"/>
                <a:ext cx="1491336" cy="726062"/>
              </a:xfrm>
              <a:prstGeom prst="rect">
                <a:avLst/>
              </a:prstGeom>
              <a:noFill/>
            </p:spPr>
            <p:txBody>
              <a:bodyPr wrap="none" lIns="237600" tIns="237600" rIns="237600" bIns="237600" rtlCol="0">
                <a:spAutoFit/>
              </a:bodyPr>
              <a:lstStyle/>
              <a:p>
                <a:pPr algn="l"/>
                <a:r>
                  <a:rPr lang="en-US" sz="1600"/>
                  <a:t>host: stage</a:t>
                </a:r>
              </a:p>
            </p:txBody>
          </p:sp>
        </p:grp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C4FF63B4-7526-D583-F85E-1A68A4EC20B4}"/>
              </a:ext>
            </a:extLst>
          </p:cNvPr>
          <p:cNvSpPr/>
          <p:nvPr/>
        </p:nvSpPr>
        <p:spPr>
          <a:xfrm>
            <a:off x="7276757" y="4183603"/>
            <a:ext cx="557609" cy="456303"/>
          </a:xfrm>
          <a:prstGeom prst="ellipse">
            <a:avLst/>
          </a:prstGeom>
          <a:solidFill>
            <a:srgbClr val="0F7C0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US" sz="2000" noProof="0" err="1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DB9B1F2-0FB5-A880-F9DF-B8C2C8830347}"/>
              </a:ext>
            </a:extLst>
          </p:cNvPr>
          <p:cNvSpPr/>
          <p:nvPr/>
        </p:nvSpPr>
        <p:spPr>
          <a:xfrm>
            <a:off x="7314991" y="4834375"/>
            <a:ext cx="557609" cy="456303"/>
          </a:xfrm>
          <a:prstGeom prst="ellipse">
            <a:avLst/>
          </a:prstGeom>
          <a:solidFill>
            <a:srgbClr val="0F7C0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US" sz="2000" noProof="0" err="1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7ADBB5B-6F7F-8194-5F1C-38212A66995B}"/>
              </a:ext>
            </a:extLst>
          </p:cNvPr>
          <p:cNvSpPr txBox="1"/>
          <p:nvPr/>
        </p:nvSpPr>
        <p:spPr>
          <a:xfrm>
            <a:off x="1538335" y="131078"/>
            <a:ext cx="9376229" cy="1710947"/>
          </a:xfrm>
          <a:prstGeom prst="rect">
            <a:avLst/>
          </a:prstGeom>
          <a:noFill/>
        </p:spPr>
        <p:txBody>
          <a:bodyPr wrap="square" lIns="237600" tIns="237600" rIns="237600" bIns="237600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Update the service selector (prod) to point to the green slot and stage service to point to the blue slo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/>
              <a:t>Reverse the slot from the next deployment , like active becomes green and updated version gets in blue</a:t>
            </a:r>
          </a:p>
        </p:txBody>
      </p:sp>
    </p:spTree>
    <p:extLst>
      <p:ext uri="{BB962C8B-B14F-4D97-AF65-F5344CB8AC3E}">
        <p14:creationId xmlns:p14="http://schemas.microsoft.com/office/powerpoint/2010/main" val="2179058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31B13-EEF9-2079-5D3A-A39FECFBA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Demo and Learning &amp; Next-Ste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358158-35F9-B0A4-0425-294388F66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807131-C7C6-F360-2DA0-C732CC25A3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5F76A3-B678-C44B-919B-2AE3C070F6B0}"/>
              </a:ext>
            </a:extLst>
          </p:cNvPr>
          <p:cNvSpPr txBox="1"/>
          <p:nvPr/>
        </p:nvSpPr>
        <p:spPr>
          <a:xfrm>
            <a:off x="287302" y="1675554"/>
            <a:ext cx="9587030" cy="3249830"/>
          </a:xfrm>
          <a:prstGeom prst="rect">
            <a:avLst/>
          </a:prstGeom>
          <a:noFill/>
        </p:spPr>
        <p:txBody>
          <a:bodyPr wrap="square" lIns="237600" tIns="237600" rIns="237600" bIns="237600" rtlCol="0">
            <a:spAutoFit/>
          </a:bodyPr>
          <a:lstStyle/>
          <a:p>
            <a:pPr algn="l"/>
            <a:r>
              <a:rPr lang="en-US" sz="2000">
                <a:hlinkClick r:id="rId2"/>
              </a:rPr>
              <a:t>Release Pipeline</a:t>
            </a:r>
            <a:endParaRPr lang="en-US" sz="2000"/>
          </a:p>
          <a:p>
            <a:pPr algn="l"/>
            <a:endParaRPr lang="en-US" sz="2000"/>
          </a:p>
          <a:p>
            <a:pPr algn="l"/>
            <a:r>
              <a:rPr lang="en-US" sz="2000"/>
              <a:t>Helm package manager constraints</a:t>
            </a:r>
          </a:p>
          <a:p>
            <a:pPr algn="l"/>
            <a:endParaRPr lang="en-US" sz="2000"/>
          </a:p>
          <a:p>
            <a:pPr algn="l"/>
            <a:r>
              <a:rPr lang="en-US" sz="2000"/>
              <a:t>Need a working model to implement the plan in production </a:t>
            </a:r>
          </a:p>
          <a:p>
            <a:pPr algn="l"/>
            <a:endParaRPr lang="en-US" sz="2000"/>
          </a:p>
          <a:p>
            <a:pPr algn="l"/>
            <a:r>
              <a:rPr lang="en-US" sz="2000"/>
              <a:t>CI/CD pipeline updates</a:t>
            </a:r>
          </a:p>
          <a:p>
            <a:pPr algn="l"/>
            <a:endParaRPr lang="en-US" sz="2000"/>
          </a:p>
          <a:p>
            <a:pPr algn="l"/>
            <a:r>
              <a:rPr lang="en-US" sz="2000"/>
              <a:t>Implementing Kubernetes liveness and readiness probes rightly</a:t>
            </a:r>
          </a:p>
        </p:txBody>
      </p:sp>
    </p:spTree>
    <p:extLst>
      <p:ext uri="{BB962C8B-B14F-4D97-AF65-F5344CB8AC3E}">
        <p14:creationId xmlns:p14="http://schemas.microsoft.com/office/powerpoint/2010/main" val="11355581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ærsk">
  <a:themeElements>
    <a:clrScheme name="Maersk">
      <a:dk1>
        <a:srgbClr val="141414"/>
      </a:dk1>
      <a:lt1>
        <a:srgbClr val="FFFFFF"/>
      </a:lt1>
      <a:dk2>
        <a:srgbClr val="545454"/>
      </a:dk2>
      <a:lt2>
        <a:srgbClr val="EDEDED"/>
      </a:lt2>
      <a:accent1>
        <a:srgbClr val="42B0D5"/>
      </a:accent1>
      <a:accent2>
        <a:srgbClr val="00243D"/>
      </a:accent2>
      <a:accent3>
        <a:srgbClr val="CFCFCF"/>
      </a:accent3>
      <a:accent4>
        <a:srgbClr val="ED685F"/>
      </a:accent4>
      <a:accent5>
        <a:srgbClr val="00796B"/>
      </a:accent5>
      <a:accent6>
        <a:srgbClr val="F59F19"/>
      </a:accent6>
      <a:hlink>
        <a:srgbClr val="0000FF"/>
      </a:hlink>
      <a:folHlink>
        <a:srgbClr val="800080"/>
      </a:folHlink>
    </a:clrScheme>
    <a:fontScheme name="Maersk">
      <a:majorFont>
        <a:latin typeface="Maersk Headline Light"/>
        <a:ea typeface=""/>
        <a:cs typeface=""/>
      </a:majorFont>
      <a:minorFont>
        <a:latin typeface="Maersk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237600" tIns="237600" rIns="237600" bIns="2376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237600" tIns="237600" rIns="237600" bIns="23760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ersk New Template July 2019.pptx" id="{49BBB41D-CA20-4795-8791-789A2CC8836C}" vid="{F06BC87B-4534-4F50-B149-416A48A5DB9C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630DD73385E04FAD1D39BC5C3D4B96" ma:contentTypeVersion="14" ma:contentTypeDescription="Create a new document." ma:contentTypeScope="" ma:versionID="d41440d52d9ade524cf30157dc7edce5">
  <xsd:schema xmlns:xsd="http://www.w3.org/2001/XMLSchema" xmlns:xs="http://www.w3.org/2001/XMLSchema" xmlns:p="http://schemas.microsoft.com/office/2006/metadata/properties" xmlns:ns2="0253f71a-8ac8-40ae-89b7-9d6f8b11b9de" xmlns:ns3="0f2d85a6-0e0c-4ea4-a2cc-6118e3e17318" targetNamespace="http://schemas.microsoft.com/office/2006/metadata/properties" ma:root="true" ma:fieldsID="1224fca64b587366bd84b6a2b1f69d92" ns2:_="" ns3:_="">
    <xsd:import namespace="0253f71a-8ac8-40ae-89b7-9d6f8b11b9de"/>
    <xsd:import namespace="0f2d85a6-0e0c-4ea4-a2cc-6118e3e1731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53f71a-8ac8-40ae-89b7-9d6f8b11b9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c1972f45-99e4-4d95-9530-8f50712244b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2d85a6-0e0c-4ea4-a2cc-6118e3e1731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52e16ad-790d-4311-b779-242e6cfb4601}" ma:internalName="TaxCatchAll" ma:showField="CatchAllData" ma:web="0f2d85a6-0e0c-4ea4-a2cc-6118e3e1731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253f71a-8ac8-40ae-89b7-9d6f8b11b9de">
      <Terms xmlns="http://schemas.microsoft.com/office/infopath/2007/PartnerControls"/>
    </lcf76f155ced4ddcb4097134ff3c332f>
    <TaxCatchAll xmlns="0f2d85a6-0e0c-4ea4-a2cc-6118e3e1731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947A411-2695-4E53-A116-F03F453342C2}">
  <ds:schemaRefs>
    <ds:schemaRef ds:uri="0253f71a-8ac8-40ae-89b7-9d6f8b11b9de"/>
    <ds:schemaRef ds:uri="0f2d85a6-0e0c-4ea4-a2cc-6118e3e1731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55A382F-3C85-4278-B2A6-89D70DFCF634}">
  <ds:schemaRefs>
    <ds:schemaRef ds:uri="0253f71a-8ac8-40ae-89b7-9d6f8b11b9de"/>
    <ds:schemaRef ds:uri="0f2d85a6-0e0c-4ea4-a2cc-6118e3e1731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E9459BA-80E2-4D30-BFA7-F5C98E0A2A2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Application>Microsoft Office PowerPoint</Application>
  <PresentationFormat>Widescreen</PresentationFormat>
  <Slides>7</Slides>
  <Notes>3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Mærsk</vt:lpstr>
      <vt:lpstr>SRE Personal Use-Case  - Gagandeep Singh &amp; Amresh Krishnamurthy</vt:lpstr>
      <vt:lpstr>PowerPoint Presentation</vt:lpstr>
      <vt:lpstr>Current Deployment-Process &amp; Problem Statement</vt:lpstr>
      <vt:lpstr>Solution – Implement Blue/Green Deployment Strategy</vt:lpstr>
      <vt:lpstr>PowerPoint Presentation</vt:lpstr>
      <vt:lpstr>PowerPoint Presentation</vt:lpstr>
      <vt:lpstr>Demo and Learning &amp; Next-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pril Hockley</dc:creator>
  <cp:revision>4</cp:revision>
  <dcterms:created xsi:type="dcterms:W3CDTF">2022-07-25T13:46:42Z</dcterms:created>
  <dcterms:modified xsi:type="dcterms:W3CDTF">2022-10-12T07:3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TemplafyTimeStamp">
    <vt:lpwstr>2019-04-17T09:18:37.9632116</vt:lpwstr>
  </property>
  <property fmtid="{D5CDD505-2E9C-101B-9397-08002B2CF9AE}" pid="4" name="MSIP_Label_71bba39d-4745-4e9d-97db-0c1927b54242_Enabled">
    <vt:lpwstr>true</vt:lpwstr>
  </property>
  <property fmtid="{D5CDD505-2E9C-101B-9397-08002B2CF9AE}" pid="5" name="MSIP_Label_71bba39d-4745-4e9d-97db-0c1927b54242_SetDate">
    <vt:lpwstr>2022-07-26T14:44:28Z</vt:lpwstr>
  </property>
  <property fmtid="{D5CDD505-2E9C-101B-9397-08002B2CF9AE}" pid="6" name="MSIP_Label_71bba39d-4745-4e9d-97db-0c1927b54242_Method">
    <vt:lpwstr>Privileged</vt:lpwstr>
  </property>
  <property fmtid="{D5CDD505-2E9C-101B-9397-08002B2CF9AE}" pid="7" name="MSIP_Label_71bba39d-4745-4e9d-97db-0c1927b54242_Name">
    <vt:lpwstr>Internal</vt:lpwstr>
  </property>
  <property fmtid="{D5CDD505-2E9C-101B-9397-08002B2CF9AE}" pid="8" name="MSIP_Label_71bba39d-4745-4e9d-97db-0c1927b54242_SiteId">
    <vt:lpwstr>05d75c05-fa1a-42e7-9cf1-eb416c396f2d</vt:lpwstr>
  </property>
  <property fmtid="{D5CDD505-2E9C-101B-9397-08002B2CF9AE}" pid="9" name="MSIP_Label_71bba39d-4745-4e9d-97db-0c1927b54242_ActionId">
    <vt:lpwstr>ac1ca2b0-d487-4153-ac73-b6afd7c285a1</vt:lpwstr>
  </property>
  <property fmtid="{D5CDD505-2E9C-101B-9397-08002B2CF9AE}" pid="10" name="MSIP_Label_71bba39d-4745-4e9d-97db-0c1927b54242_ContentBits">
    <vt:lpwstr>2</vt:lpwstr>
  </property>
  <property fmtid="{D5CDD505-2E9C-101B-9397-08002B2CF9AE}" pid="11" name="ContentTypeId">
    <vt:lpwstr>0x010100CA630DD73385E04FAD1D39BC5C3D4B96</vt:lpwstr>
  </property>
</Properties>
</file>